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2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4"/>
  </p:sldMasterIdLst>
  <p:notesMasterIdLst>
    <p:notesMasterId r:id="rId14"/>
  </p:notesMasterIdLst>
  <p:handoutMasterIdLst>
    <p:handoutMasterId r:id="rId15"/>
  </p:handoutMasterIdLst>
  <p:sldIdLst>
    <p:sldId id="2147483644" r:id="rId5"/>
    <p:sldId id="266" r:id="rId6"/>
    <p:sldId id="267" r:id="rId7"/>
    <p:sldId id="257" r:id="rId8"/>
    <p:sldId id="258" r:id="rId9"/>
    <p:sldId id="259" r:id="rId10"/>
    <p:sldId id="260" r:id="rId11"/>
    <p:sldId id="261" r:id="rId12"/>
    <p:sldId id="263" r:id="rId13"/>
  </p:sldIdLst>
  <p:sldSz cx="12192000" cy="6858000"/>
  <p:notesSz cx="6950075" cy="9236075"/>
  <p:custShowLst>
    <p:custShow name="Format Guide Workshop" id="0">
      <p:sldLst/>
    </p:custShow>
  </p:custShowLst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3DDF8BC-5071-4923-ACD6-375B01550D00}">
          <p14:sldIdLst>
            <p14:sldId id="2147483644"/>
            <p14:sldId id="266"/>
            <p14:sldId id="267"/>
            <p14:sldId id="257"/>
            <p14:sldId id="258"/>
            <p14:sldId id="259"/>
            <p14:sldId id="260"/>
            <p14:sldId id="261"/>
            <p14:sldId id="26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FB8D703-F42E-E099-649F-027BF26FAC9B}" name="Naik, Harshad" initials="NH" userId="Naik, Harshad" providerId="None"/>
  <p188:author id="{8CE74A3C-2310-FEC9-9CEB-78C0002C6A52}" name="Kunte, Hrishikesh" initials="KH" userId="S::kunte.hrishikesh@bcg.com::38a8e5e3-4e27-4523-88c8-bc533851d2ac" providerId="AD"/>
  <p188:author id="{17B3DB41-BDF3-B6C6-C19E-C34BD7BA2BAF}" name="Gumireddy, Sushmitha" initials="GS" userId="Gumireddy, Sushmitha" providerId="None"/>
  <p188:author id="{4DD05BBD-79C3-2C33-3317-804F5DA38073}" name="Fitkiriwala, Kajal" initials="FK" userId="Fitkiriwala, Kajal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BD35B"/>
    <a:srgbClr val="C5EDC5"/>
    <a:srgbClr val="006EBA"/>
    <a:srgbClr val="25A7FF"/>
    <a:srgbClr val="007CD0"/>
    <a:srgbClr val="005792"/>
    <a:srgbClr val="004574"/>
    <a:srgbClr val="003050"/>
    <a:srgbClr val="9E9F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2CEB113-AD77-4E1F-A48C-07696A75B2B4}" v="1" dt="2025-04-21T14:30:41.9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56" d="100"/>
          <a:sy n="56" d="100"/>
        </p:scale>
        <p:origin x="1044" y="3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mireddy, Sushmitha" userId="903c204e-4c81-4de0-8bd8-c46c4bdfc4b8" providerId="ADAL" clId="{92CEB113-AD77-4E1F-A48C-07696A75B2B4}"/>
    <pc:docChg chg="modSld">
      <pc:chgData name="Gumireddy, Sushmitha" userId="903c204e-4c81-4de0-8bd8-c46c4bdfc4b8" providerId="ADAL" clId="{92CEB113-AD77-4E1F-A48C-07696A75B2B4}" dt="2025-04-21T14:30:41.914" v="0" actId="1076"/>
      <pc:docMkLst>
        <pc:docMk/>
      </pc:docMkLst>
      <pc:sldChg chg="modSp">
        <pc:chgData name="Gumireddy, Sushmitha" userId="903c204e-4c81-4de0-8bd8-c46c4bdfc4b8" providerId="ADAL" clId="{92CEB113-AD77-4E1F-A48C-07696A75B2B4}" dt="2025-04-21T14:30:41.914" v="0" actId="1076"/>
        <pc:sldMkLst>
          <pc:docMk/>
          <pc:sldMk cId="3567290706" sldId="259"/>
        </pc:sldMkLst>
        <pc:spChg chg="mod">
          <ac:chgData name="Gumireddy, Sushmitha" userId="903c204e-4c81-4de0-8bd8-c46c4bdfc4b8" providerId="ADAL" clId="{92CEB113-AD77-4E1F-A48C-07696A75B2B4}" dt="2025-04-21T14:30:41.914" v="0" actId="1076"/>
          <ac:spMkLst>
            <pc:docMk/>
            <pc:sldMk cId="3567290706" sldId="259"/>
            <ac:spMk id="4" creationId="{6304A201-D062-DD62-EE22-A554F9B407F5}"/>
          </ac:spMkLst>
        </pc:spChg>
        <pc:spChg chg="mod">
          <ac:chgData name="Gumireddy, Sushmitha" userId="903c204e-4c81-4de0-8bd8-c46c4bdfc4b8" providerId="ADAL" clId="{92CEB113-AD77-4E1F-A48C-07696A75B2B4}" dt="2025-04-21T14:30:41.914" v="0" actId="1076"/>
          <ac:spMkLst>
            <pc:docMk/>
            <pc:sldMk cId="3567290706" sldId="259"/>
            <ac:spMk id="8" creationId="{F04DCFC6-C428-750A-1B98-F9DEF0840472}"/>
          </ac:spMkLst>
        </pc:spChg>
        <pc:spChg chg="mod">
          <ac:chgData name="Gumireddy, Sushmitha" userId="903c204e-4c81-4de0-8bd8-c46c4bdfc4b8" providerId="ADAL" clId="{92CEB113-AD77-4E1F-A48C-07696A75B2B4}" dt="2025-04-21T14:30:41.914" v="0" actId="1076"/>
          <ac:spMkLst>
            <pc:docMk/>
            <pc:sldMk cId="3567290706" sldId="259"/>
            <ac:spMk id="10" creationId="{911722BA-BCA2-4648-CEAD-BC575FF3A0A1}"/>
          </ac:spMkLst>
        </pc:spChg>
        <pc:spChg chg="mod">
          <ac:chgData name="Gumireddy, Sushmitha" userId="903c204e-4c81-4de0-8bd8-c46c4bdfc4b8" providerId="ADAL" clId="{92CEB113-AD77-4E1F-A48C-07696A75B2B4}" dt="2025-04-21T14:30:41.914" v="0" actId="1076"/>
          <ac:spMkLst>
            <pc:docMk/>
            <pc:sldMk cId="3567290706" sldId="259"/>
            <ac:spMk id="11" creationId="{A78E07D1-4C92-24EA-C848-C7EC8A2FFBB1}"/>
          </ac:spMkLst>
        </pc:spChg>
        <pc:spChg chg="mod">
          <ac:chgData name="Gumireddy, Sushmitha" userId="903c204e-4c81-4de0-8bd8-c46c4bdfc4b8" providerId="ADAL" clId="{92CEB113-AD77-4E1F-A48C-07696A75B2B4}" dt="2025-04-21T14:30:41.914" v="0" actId="1076"/>
          <ac:spMkLst>
            <pc:docMk/>
            <pc:sldMk cId="3567290706" sldId="259"/>
            <ac:spMk id="12" creationId="{0DE8752E-59CD-BE6D-0893-BC3E46F6B0E9}"/>
          </ac:spMkLst>
        </pc:spChg>
        <pc:spChg chg="mod">
          <ac:chgData name="Gumireddy, Sushmitha" userId="903c204e-4c81-4de0-8bd8-c46c4bdfc4b8" providerId="ADAL" clId="{92CEB113-AD77-4E1F-A48C-07696A75B2B4}" dt="2025-04-21T14:30:41.914" v="0" actId="1076"/>
          <ac:spMkLst>
            <pc:docMk/>
            <pc:sldMk cId="3567290706" sldId="259"/>
            <ac:spMk id="16" creationId="{F3DB0212-67E7-5E09-8A15-045422A0BD1E}"/>
          </ac:spMkLst>
        </pc:spChg>
        <pc:spChg chg="mod">
          <ac:chgData name="Gumireddy, Sushmitha" userId="903c204e-4c81-4de0-8bd8-c46c4bdfc4b8" providerId="ADAL" clId="{92CEB113-AD77-4E1F-A48C-07696A75B2B4}" dt="2025-04-21T14:30:41.914" v="0" actId="1076"/>
          <ac:spMkLst>
            <pc:docMk/>
            <pc:sldMk cId="3567290706" sldId="259"/>
            <ac:spMk id="17" creationId="{F501CB92-7096-D224-FDFC-ACA837285A66}"/>
          </ac:spMkLst>
        </pc:spChg>
        <pc:spChg chg="mod">
          <ac:chgData name="Gumireddy, Sushmitha" userId="903c204e-4c81-4de0-8bd8-c46c4bdfc4b8" providerId="ADAL" clId="{92CEB113-AD77-4E1F-A48C-07696A75B2B4}" dt="2025-04-21T14:30:41.914" v="0" actId="1076"/>
          <ac:spMkLst>
            <pc:docMk/>
            <pc:sldMk cId="3567290706" sldId="259"/>
            <ac:spMk id="22" creationId="{4C6E573D-5E0F-B074-797E-F910CE021864}"/>
          </ac:spMkLst>
        </pc:spChg>
        <pc:cxnChg chg="mod">
          <ac:chgData name="Gumireddy, Sushmitha" userId="903c204e-4c81-4de0-8bd8-c46c4bdfc4b8" providerId="ADAL" clId="{92CEB113-AD77-4E1F-A48C-07696A75B2B4}" dt="2025-04-21T14:30:41.914" v="0" actId="1076"/>
          <ac:cxnSpMkLst>
            <pc:docMk/>
            <pc:sldMk cId="3567290706" sldId="259"/>
            <ac:cxnSpMk id="5" creationId="{2CD0EDF7-BDAC-B725-BB16-6C927E45629A}"/>
          </ac:cxnSpMkLst>
        </pc:cxnChg>
        <pc:cxnChg chg="mod">
          <ac:chgData name="Gumireddy, Sushmitha" userId="903c204e-4c81-4de0-8bd8-c46c4bdfc4b8" providerId="ADAL" clId="{92CEB113-AD77-4E1F-A48C-07696A75B2B4}" dt="2025-04-21T14:30:41.914" v="0" actId="1076"/>
          <ac:cxnSpMkLst>
            <pc:docMk/>
            <pc:sldMk cId="3567290706" sldId="259"/>
            <ac:cxnSpMk id="9" creationId="{BDA9A29E-1335-26F2-3309-22D2CDFB24E8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>
                <a:latin typeface="Arial" panose="020B0604020202020204" pitchFamily="34" charset="0"/>
              </a:rPr>
              <a:t>5/28/2025</a:t>
            </a:fld>
            <a:endParaRPr lang="en-US" sz="80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>
                <a:latin typeface="Arial" panose="020B0604020202020204" pitchFamily="34" charset="0"/>
              </a:rPr>
              <a:t>‹#›</a:t>
            </a:fld>
            <a:endParaRPr lang="en-US" sz="8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F2C7CF5F-7CF3-4DF3-838A-EE34544862CC}" type="datetimeFigureOut">
              <a:rPr lang="en-US" smtClean="0"/>
              <a:pPr/>
              <a:t>5/28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3914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1220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0AB9BE-23B3-F329-8664-E19D9150E3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296C38-2DE4-7B97-8967-32C51CC4B0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7502A9-DBF2-3F78-A9CA-E365889793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B119AB-5740-E048-BC1B-BD8F1CB7F4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1431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Macintosh%20HD:Users:momatatakehiro:Desktop:PowerPoint:PowerPoint_new_&#27178;:format_en_01.jpg" TargetMode="Externa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Macintosh%20HD:Users:momatatakehiro:Desktop:PowerPoint:PowerPoint_new_&#27178;:format_en_01.jpg" TargetMode="Externa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Macintosh%20HD:Users:momatatakehiro:Desktop:PowerPoint:PowerPoint_new_&#27178;:format_en_01.jpg" TargetMode="Externa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Macintosh%20HD:Users:momatatakehiro:Desktop:PowerPoint:PowerPoint_new_&#27178;:format_en_01.jpg" TargetMode="Externa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Macintosh%20HD:Users:momatatakehiro:Desktop:PowerPoint:PowerPoint_new_&#27178;:format_en_01.jpg" TargetMode="Externa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8.xml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1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2.xml"/><Relationship Id="rId4" Type="http://schemas.openxmlformats.org/officeDocument/2006/relationships/image" Target="../media/image5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3.xml"/><Relationship Id="rId4" Type="http://schemas.openxmlformats.org/officeDocument/2006/relationships/image" Target="../media/image5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4.xml"/><Relationship Id="rId4" Type="http://schemas.openxmlformats.org/officeDocument/2006/relationships/image" Target="../media/image5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6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9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0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1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4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5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6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76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5"/>
          <a:srcRect l="3964" t="22080" b="1618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4" descr="Image result for jica 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66" y="349180"/>
            <a:ext cx="1925934" cy="1553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36600" y="2260600"/>
            <a:ext cx="10706100" cy="2070100"/>
          </a:xfrm>
        </p:spPr>
        <p:txBody>
          <a:bodyPr anchor="b"/>
          <a:lstStyle>
            <a:lvl1pPr>
              <a:defRPr sz="4800" baseline="0">
                <a:solidFill>
                  <a:srgbClr val="006EBA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Title in Title Case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36600" y="4502200"/>
            <a:ext cx="10706100" cy="304699"/>
          </a:xfrm>
        </p:spPr>
        <p:txBody>
          <a:bodyPr anchor="ctr">
            <a:spAutoFit/>
          </a:bodyPr>
          <a:lstStyle>
            <a:lvl1pPr>
              <a:defRPr sz="1800" baseline="0">
                <a:solidFill>
                  <a:srgbClr val="006EBA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36600" y="5102333"/>
            <a:ext cx="10706100" cy="203133"/>
          </a:xfrm>
        </p:spPr>
        <p:txBody>
          <a:bodyPr anchor="ctr">
            <a:spAutoFit/>
          </a:bodyPr>
          <a:lstStyle>
            <a:lvl1pPr>
              <a:defRPr sz="1200" baseline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CLIECK TO EDIT DATE/PLACE</a:t>
            </a: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720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630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4137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8784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033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5959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827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6980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9147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5277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9446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8" name="Picture 6" descr="Macintosh HD:Users:momatatakehiro:Desktop:PowerPoint:PowerPoint_new_横:format_en_01.jpg"/>
          <p:cNvPicPr>
            <a:picLocks noChangeAspect="1" noChangeArrowheads="1"/>
          </p:cNvPicPr>
          <p:nvPr userDrawn="1"/>
        </p:nvPicPr>
        <p:blipFill rotWithShape="1"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6" t="12241" r="94147"/>
          <a:stretch>
            <a:fillRect/>
          </a:stretch>
        </p:blipFill>
        <p:spPr bwMode="auto">
          <a:xfrm>
            <a:off x="0" y="0"/>
            <a:ext cx="50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Image result for jica 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" y="27815"/>
            <a:ext cx="450850" cy="363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690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4469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73771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5892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6011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2597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5676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149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/>
          <a:srcRect l="3964" t="22080" b="1618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4" descr="Image result for jica 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0290" y="1634071"/>
            <a:ext cx="4451420" cy="3589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735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751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/>
          <a:srcRect l="3964" t="22080" b="1618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Picture 4" descr="Image result for jica 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66" y="349180"/>
            <a:ext cx="1925934" cy="1553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36600" y="2260600"/>
            <a:ext cx="10706100" cy="2070100"/>
          </a:xfrm>
        </p:spPr>
        <p:txBody>
          <a:bodyPr anchor="b"/>
          <a:lstStyle>
            <a:lvl1pPr>
              <a:defRPr sz="4800" baseline="0">
                <a:solidFill>
                  <a:srgbClr val="006EBA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Title in Title Case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36600" y="4502200"/>
            <a:ext cx="10706100" cy="304699"/>
          </a:xfrm>
        </p:spPr>
        <p:txBody>
          <a:bodyPr anchor="ctr">
            <a:spAutoFit/>
          </a:bodyPr>
          <a:lstStyle>
            <a:lvl1pPr>
              <a:defRPr sz="1800" baseline="0">
                <a:solidFill>
                  <a:srgbClr val="006EBA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Subtitle in sentence cas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36600" y="5102333"/>
            <a:ext cx="10706100" cy="203133"/>
          </a:xfrm>
        </p:spPr>
        <p:txBody>
          <a:bodyPr anchor="ctr">
            <a:spAutoFit/>
          </a:bodyPr>
          <a:lstStyle>
            <a:lvl1pPr>
              <a:defRPr sz="1200" baseline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CLIECK TO EDIT DATE/PLAC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8071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6" descr="Macintosh HD:Users:momatatakehiro:Desktop:PowerPoint:PowerPoint_new_横:format_en_01.jpg"/>
          <p:cNvPicPr>
            <a:picLocks noChangeAspect="1" noChangeArrowheads="1"/>
          </p:cNvPicPr>
          <p:nvPr userDrawn="1"/>
        </p:nvPicPr>
        <p:blipFill rotWithShape="1"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6" t="12241" r="94147"/>
          <a:stretch>
            <a:fillRect/>
          </a:stretch>
        </p:blipFill>
        <p:spPr bwMode="auto">
          <a:xfrm>
            <a:off x="0" y="0"/>
            <a:ext cx="50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Image result for jica 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" y="27815"/>
            <a:ext cx="450850" cy="363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9465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6" name="Picture 6" descr="Macintosh HD:Users:momatatakehiro:Desktop:PowerPoint:PowerPoint_new_横:format_en_01.jpg"/>
          <p:cNvPicPr>
            <a:picLocks noChangeAspect="1" noChangeArrowheads="1"/>
          </p:cNvPicPr>
          <p:nvPr userDrawn="1"/>
        </p:nvPicPr>
        <p:blipFill rotWithShape="1"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6" t="12241" r="94147"/>
          <a:stretch>
            <a:fillRect/>
          </a:stretch>
        </p:blipFill>
        <p:spPr bwMode="auto">
          <a:xfrm>
            <a:off x="0" y="0"/>
            <a:ext cx="50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Image result for jica 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" y="27815"/>
            <a:ext cx="450850" cy="363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9465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49421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2708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6" descr="Macintosh HD:Users:momatatakehiro:Desktop:PowerPoint:PowerPoint_new_横:format_en_01.jpg"/>
          <p:cNvPicPr>
            <a:picLocks noChangeAspect="1" noChangeArrowheads="1"/>
          </p:cNvPicPr>
          <p:nvPr userDrawn="1"/>
        </p:nvPicPr>
        <p:blipFill rotWithShape="1"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6" t="12241" r="94147"/>
          <a:stretch>
            <a:fillRect/>
          </a:stretch>
        </p:blipFill>
        <p:spPr bwMode="auto">
          <a:xfrm>
            <a:off x="0" y="0"/>
            <a:ext cx="50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Image result for jica 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" y="27815"/>
            <a:ext cx="450850" cy="363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8069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171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1587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4257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262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6674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4756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1496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7" name="Picture 6" descr="Macintosh HD:Users:momatatakehiro:Desktop:PowerPoint:PowerPoint_new_横:format_en_01.jpg"/>
          <p:cNvPicPr>
            <a:picLocks noChangeAspect="1" noChangeArrowheads="1"/>
          </p:cNvPicPr>
          <p:nvPr userDrawn="1"/>
        </p:nvPicPr>
        <p:blipFill rotWithShape="1"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6" t="12241" r="94147"/>
          <a:stretch>
            <a:fillRect/>
          </a:stretch>
        </p:blipFill>
        <p:spPr bwMode="auto">
          <a:xfrm>
            <a:off x="0" y="0"/>
            <a:ext cx="50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 descr="Image result for jica 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" y="27815"/>
            <a:ext cx="450850" cy="363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0192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181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09250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9229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5496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3099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5951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037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712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0080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7995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902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04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851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6801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6130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01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9588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829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0857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/>
          <a:srcRect l="3964" t="22080" b="1618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4" descr="Image result for jica 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0290" y="1634071"/>
            <a:ext cx="4451420" cy="3589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121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0047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1956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308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4922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26169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27541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9261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6128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52100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334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706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2993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9312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30098897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086" r:id="rId2"/>
    <p:sldLayoutId id="2147485183" r:id="rId3"/>
    <p:sldLayoutId id="2147485158" r:id="rId4"/>
    <p:sldLayoutId id="2147485113" r:id="rId5"/>
    <p:sldLayoutId id="2147485114" r:id="rId6"/>
    <p:sldLayoutId id="2147485154" r:id="rId7"/>
    <p:sldLayoutId id="2147485162" r:id="rId8"/>
    <p:sldLayoutId id="2147485149" r:id="rId9"/>
    <p:sldLayoutId id="2147485087" r:id="rId10"/>
    <p:sldLayoutId id="2147485112" r:id="rId11"/>
    <p:sldLayoutId id="2147485155" r:id="rId12"/>
    <p:sldLayoutId id="2147485164" r:id="rId13"/>
    <p:sldLayoutId id="2147485109" r:id="rId14"/>
    <p:sldLayoutId id="2147485165" r:id="rId15"/>
    <p:sldLayoutId id="2147485110" r:id="rId16"/>
    <p:sldLayoutId id="2147485166" r:id="rId17"/>
    <p:sldLayoutId id="2147485156" r:id="rId18"/>
    <p:sldLayoutId id="2147485167" r:id="rId19"/>
    <p:sldLayoutId id="2147485108" r:id="rId20"/>
    <p:sldLayoutId id="2147485107" r:id="rId21"/>
    <p:sldLayoutId id="2147485106" r:id="rId22"/>
    <p:sldLayoutId id="2147485090" r:id="rId23"/>
    <p:sldLayoutId id="2147485091" r:id="rId24"/>
    <p:sldLayoutId id="2147485092" r:id="rId25"/>
    <p:sldLayoutId id="2147485093" r:id="rId26"/>
    <p:sldLayoutId id="2147485116" r:id="rId27"/>
    <p:sldLayoutId id="2147485161" r:id="rId28"/>
    <p:sldLayoutId id="2147485159" r:id="rId29"/>
    <p:sldLayoutId id="2147485119" r:id="rId30"/>
    <p:sldLayoutId id="2147485185" r:id="rId31"/>
    <p:sldLayoutId id="2147485184" r:id="rId32"/>
    <p:sldLayoutId id="2147485137" r:id="rId33"/>
    <p:sldLayoutId id="2147485120" r:id="rId34"/>
    <p:sldLayoutId id="2147485121" r:id="rId35"/>
    <p:sldLayoutId id="2147485141" r:id="rId36"/>
    <p:sldLayoutId id="2147485163" r:id="rId37"/>
    <p:sldLayoutId id="2147485139" r:id="rId38"/>
    <p:sldLayoutId id="2147485140" r:id="rId39"/>
    <p:sldLayoutId id="2147485122" r:id="rId40"/>
    <p:sldLayoutId id="2147485123" r:id="rId41"/>
    <p:sldLayoutId id="2147485151" r:id="rId42"/>
    <p:sldLayoutId id="2147485168" r:id="rId43"/>
    <p:sldLayoutId id="2147485127" r:id="rId44"/>
    <p:sldLayoutId id="2147485169" r:id="rId45"/>
    <p:sldLayoutId id="2147485126" r:id="rId46"/>
    <p:sldLayoutId id="2147485170" r:id="rId47"/>
    <p:sldLayoutId id="2147485153" r:id="rId48"/>
    <p:sldLayoutId id="2147485171" r:id="rId49"/>
    <p:sldLayoutId id="2147485128" r:id="rId50"/>
    <p:sldLayoutId id="2147485129" r:id="rId51"/>
    <p:sldLayoutId id="2147485130" r:id="rId52"/>
    <p:sldLayoutId id="2147485131" r:id="rId53"/>
    <p:sldLayoutId id="2147485145" r:id="rId54"/>
    <p:sldLayoutId id="2147485133" r:id="rId55"/>
    <p:sldLayoutId id="2147485144" r:id="rId56"/>
    <p:sldLayoutId id="2147485134" r:id="rId57"/>
    <p:sldLayoutId id="2147485146" r:id="rId58"/>
    <p:sldLayoutId id="2147485160" r:id="rId59"/>
    <p:sldLayoutId id="2147485172" r:id="rId60"/>
    <p:sldLayoutId id="2147485173" r:id="rId61"/>
    <p:sldLayoutId id="2147485174" r:id="rId62"/>
    <p:sldLayoutId id="2147485175" r:id="rId63"/>
    <p:sldLayoutId id="2147485176" r:id="rId64"/>
    <p:sldLayoutId id="2147485177" r:id="rId65"/>
    <p:sldLayoutId id="2147485178" r:id="rId66"/>
    <p:sldLayoutId id="2147485179" r:id="rId67"/>
    <p:sldLayoutId id="2147485180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7.png"/><Relationship Id="rId3" Type="http://schemas.openxmlformats.org/officeDocument/2006/relationships/tags" Target="../tags/tag120.xml"/><Relationship Id="rId7" Type="http://schemas.openxmlformats.org/officeDocument/2006/relationships/image" Target="../media/image13.emf"/><Relationship Id="rId12" Type="http://schemas.microsoft.com/office/2007/relationships/hdphoto" Target="../media/hdphoto1.wdp"/><Relationship Id="rId2" Type="http://schemas.openxmlformats.org/officeDocument/2006/relationships/tags" Target="../tags/tag119.xml"/><Relationship Id="rId16" Type="http://schemas.microsoft.com/office/2007/relationships/hdphoto" Target="../media/hdphoto3.wdp"/><Relationship Id="rId1" Type="http://schemas.openxmlformats.org/officeDocument/2006/relationships/tags" Target="../tags/tag118.xml"/><Relationship Id="rId6" Type="http://schemas.openxmlformats.org/officeDocument/2006/relationships/oleObject" Target="../embeddings/oleObject55.bin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8.png"/><Relationship Id="rId10" Type="http://schemas.openxmlformats.org/officeDocument/2006/relationships/image" Target="../media/image15.e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56.bin"/><Relationship Id="rId14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23.xml"/><Relationship Id="rId7" Type="http://schemas.openxmlformats.org/officeDocument/2006/relationships/oleObject" Target="../embeddings/oleObject57.bin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125.xml"/><Relationship Id="rId10" Type="http://schemas.openxmlformats.org/officeDocument/2006/relationships/slide" Target="slide3.xml"/><Relationship Id="rId4" Type="http://schemas.openxmlformats.org/officeDocument/2006/relationships/tags" Target="../tags/tag124.xml"/><Relationship Id="rId9" Type="http://schemas.openxmlformats.org/officeDocument/2006/relationships/slide" Target="slide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7" Type="http://schemas.openxmlformats.org/officeDocument/2006/relationships/slide" Target="slide3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slide" Target="slide6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30.xml"/><Relationship Id="rId4" Type="http://schemas.openxmlformats.org/officeDocument/2006/relationships/image" Target="../media/image2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31.xml"/><Relationship Id="rId4" Type="http://schemas.openxmlformats.org/officeDocument/2006/relationships/image" Target="../media/image2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32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33.xml"/><Relationship Id="rId4" Type="http://schemas.openxmlformats.org/officeDocument/2006/relationships/image" Target="../media/image20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34.xml"/><Relationship Id="rId4" Type="http://schemas.openxmlformats.org/officeDocument/2006/relationships/image" Target="../media/image20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7.png"/><Relationship Id="rId3" Type="http://schemas.openxmlformats.org/officeDocument/2006/relationships/tags" Target="../tags/tag137.xml"/><Relationship Id="rId7" Type="http://schemas.openxmlformats.org/officeDocument/2006/relationships/image" Target="../media/image13.emf"/><Relationship Id="rId12" Type="http://schemas.microsoft.com/office/2007/relationships/hdphoto" Target="../media/hdphoto1.wdp"/><Relationship Id="rId2" Type="http://schemas.openxmlformats.org/officeDocument/2006/relationships/tags" Target="../tags/tag136.xml"/><Relationship Id="rId16" Type="http://schemas.microsoft.com/office/2007/relationships/hdphoto" Target="../media/hdphoto3.wdp"/><Relationship Id="rId1" Type="http://schemas.openxmlformats.org/officeDocument/2006/relationships/tags" Target="../tags/tag135.xml"/><Relationship Id="rId6" Type="http://schemas.openxmlformats.org/officeDocument/2006/relationships/oleObject" Target="../embeddings/oleObject55.bin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8.png"/><Relationship Id="rId10" Type="http://schemas.openxmlformats.org/officeDocument/2006/relationships/image" Target="../media/image15.e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56.bin"/><Relationship Id="rId1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A4D6CD-DE3D-7101-3E70-057DFAE2E9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A4D6CD-DE3D-7101-3E70-057DFAE2E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CD8A5A8-9A01-F914-70ED-183A4EB1107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79" b="15172"/>
          <a:stretch/>
        </p:blipFill>
        <p:spPr>
          <a:xfrm>
            <a:off x="-8272" y="-532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99DDE0F-4D64-4908-73E4-13237E3E81A3}"/>
              </a:ext>
            </a:extLst>
          </p:cNvPr>
          <p:cNvSpPr/>
          <p:nvPr/>
        </p:nvSpPr>
        <p:spPr>
          <a:xfrm>
            <a:off x="1902" y="15185"/>
            <a:ext cx="12192000" cy="6884843"/>
          </a:xfrm>
          <a:prstGeom prst="rect">
            <a:avLst/>
          </a:prstGeom>
          <a:solidFill>
            <a:srgbClr val="003300">
              <a:alpha val="71765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D7B0C6-2F60-281D-EAE0-CD573B4DA6EC}"/>
              </a:ext>
            </a:extLst>
          </p:cNvPr>
          <p:cNvSpPr/>
          <p:nvPr/>
        </p:nvSpPr>
        <p:spPr>
          <a:xfrm>
            <a:off x="-16721" y="1443"/>
            <a:ext cx="10374551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77000">
                <a:srgbClr val="064E7F">
                  <a:alpha val="0"/>
                </a:srgbClr>
              </a:gs>
            </a:gsLst>
            <a:lin ang="1800000" scaled="0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object 21">
            <a:extLst>
              <a:ext uri="{FF2B5EF4-FFF2-40B4-BE49-F238E27FC236}">
                <a16:creationId xmlns:a16="http://schemas.microsoft.com/office/drawing/2014/main" id="{59B51CB5-2A54-9B92-AFA2-BBCDD557520E}"/>
              </a:ext>
            </a:extLst>
          </p:cNvPr>
          <p:cNvSpPr/>
          <p:nvPr/>
        </p:nvSpPr>
        <p:spPr>
          <a:xfrm>
            <a:off x="9076266" y="1588306"/>
            <a:ext cx="3115733" cy="5282393"/>
          </a:xfrm>
          <a:custGeom>
            <a:avLst/>
            <a:gdLst/>
            <a:ahLst/>
            <a:cxnLst/>
            <a:rect l="l" t="t" r="r" b="b"/>
            <a:pathLst>
              <a:path w="4052570" h="6870700">
                <a:moveTo>
                  <a:pt x="4052369" y="0"/>
                </a:moveTo>
                <a:lnTo>
                  <a:pt x="3972579" y="0"/>
                </a:lnTo>
                <a:lnTo>
                  <a:pt x="3921788" y="12700"/>
                </a:lnTo>
                <a:lnTo>
                  <a:pt x="3770042" y="12700"/>
                </a:lnTo>
                <a:lnTo>
                  <a:pt x="3719677" y="25400"/>
                </a:lnTo>
                <a:lnTo>
                  <a:pt x="3669426" y="25400"/>
                </a:lnTo>
                <a:lnTo>
                  <a:pt x="3619290" y="38100"/>
                </a:lnTo>
                <a:lnTo>
                  <a:pt x="3569273" y="38100"/>
                </a:lnTo>
                <a:lnTo>
                  <a:pt x="3469602" y="63500"/>
                </a:lnTo>
                <a:lnTo>
                  <a:pt x="3419954" y="63500"/>
                </a:lnTo>
                <a:lnTo>
                  <a:pt x="3222671" y="114300"/>
                </a:lnTo>
                <a:lnTo>
                  <a:pt x="3173690" y="114300"/>
                </a:lnTo>
                <a:lnTo>
                  <a:pt x="3076153" y="139700"/>
                </a:lnTo>
                <a:lnTo>
                  <a:pt x="3027602" y="165100"/>
                </a:lnTo>
                <a:lnTo>
                  <a:pt x="2834910" y="215900"/>
                </a:lnTo>
                <a:lnTo>
                  <a:pt x="2787127" y="241300"/>
                </a:lnTo>
                <a:lnTo>
                  <a:pt x="2692047" y="266700"/>
                </a:lnTo>
                <a:lnTo>
                  <a:pt x="2644755" y="292100"/>
                </a:lnTo>
                <a:lnTo>
                  <a:pt x="2597632" y="304800"/>
                </a:lnTo>
                <a:lnTo>
                  <a:pt x="2550680" y="330200"/>
                </a:lnTo>
                <a:lnTo>
                  <a:pt x="2504192" y="342900"/>
                </a:lnTo>
                <a:lnTo>
                  <a:pt x="2412119" y="393700"/>
                </a:lnTo>
                <a:lnTo>
                  <a:pt x="2366538" y="406400"/>
                </a:lnTo>
                <a:lnTo>
                  <a:pt x="2187314" y="508000"/>
                </a:lnTo>
                <a:lnTo>
                  <a:pt x="2143293" y="520700"/>
                </a:lnTo>
                <a:lnTo>
                  <a:pt x="2013151" y="596900"/>
                </a:lnTo>
                <a:lnTo>
                  <a:pt x="1970418" y="635000"/>
                </a:lnTo>
                <a:lnTo>
                  <a:pt x="1928013" y="660400"/>
                </a:lnTo>
                <a:lnTo>
                  <a:pt x="1761715" y="762000"/>
                </a:lnTo>
                <a:lnTo>
                  <a:pt x="1720982" y="800100"/>
                </a:lnTo>
                <a:lnTo>
                  <a:pt x="1640543" y="850900"/>
                </a:lnTo>
                <a:lnTo>
                  <a:pt x="1600841" y="889000"/>
                </a:lnTo>
                <a:lnTo>
                  <a:pt x="1561487" y="914400"/>
                </a:lnTo>
                <a:lnTo>
                  <a:pt x="1522484" y="952500"/>
                </a:lnTo>
                <a:lnTo>
                  <a:pt x="1483833" y="977900"/>
                </a:lnTo>
                <a:lnTo>
                  <a:pt x="1407598" y="1054100"/>
                </a:lnTo>
                <a:lnTo>
                  <a:pt x="1370018" y="1079500"/>
                </a:lnTo>
                <a:lnTo>
                  <a:pt x="1332801" y="1117600"/>
                </a:lnTo>
                <a:lnTo>
                  <a:pt x="1295947" y="1155700"/>
                </a:lnTo>
                <a:lnTo>
                  <a:pt x="1259459" y="1181100"/>
                </a:lnTo>
                <a:lnTo>
                  <a:pt x="1223340" y="1219200"/>
                </a:lnTo>
                <a:lnTo>
                  <a:pt x="1187647" y="1257300"/>
                </a:lnTo>
                <a:lnTo>
                  <a:pt x="1152437" y="1295400"/>
                </a:lnTo>
                <a:lnTo>
                  <a:pt x="1117713" y="1333500"/>
                </a:lnTo>
                <a:lnTo>
                  <a:pt x="1083475" y="1371600"/>
                </a:lnTo>
                <a:lnTo>
                  <a:pt x="1049726" y="1409700"/>
                </a:lnTo>
                <a:lnTo>
                  <a:pt x="1016466" y="1447800"/>
                </a:lnTo>
                <a:lnTo>
                  <a:pt x="983698" y="1485900"/>
                </a:lnTo>
                <a:lnTo>
                  <a:pt x="951422" y="1524000"/>
                </a:lnTo>
                <a:lnTo>
                  <a:pt x="919640" y="1562100"/>
                </a:lnTo>
                <a:lnTo>
                  <a:pt x="888355" y="1600200"/>
                </a:lnTo>
                <a:lnTo>
                  <a:pt x="857566" y="1638300"/>
                </a:lnTo>
                <a:lnTo>
                  <a:pt x="827277" y="1676400"/>
                </a:lnTo>
                <a:lnTo>
                  <a:pt x="797487" y="1714500"/>
                </a:lnTo>
                <a:lnTo>
                  <a:pt x="768200" y="1765300"/>
                </a:lnTo>
                <a:lnTo>
                  <a:pt x="739416" y="1803400"/>
                </a:lnTo>
                <a:lnTo>
                  <a:pt x="711138" y="1841500"/>
                </a:lnTo>
                <a:lnTo>
                  <a:pt x="683365" y="1879600"/>
                </a:lnTo>
                <a:lnTo>
                  <a:pt x="656101" y="1930400"/>
                </a:lnTo>
                <a:lnTo>
                  <a:pt x="629346" y="1968500"/>
                </a:lnTo>
                <a:lnTo>
                  <a:pt x="603103" y="2006600"/>
                </a:lnTo>
                <a:lnTo>
                  <a:pt x="577372" y="2057400"/>
                </a:lnTo>
                <a:lnTo>
                  <a:pt x="552155" y="2095500"/>
                </a:lnTo>
                <a:lnTo>
                  <a:pt x="527453" y="2146300"/>
                </a:lnTo>
                <a:lnTo>
                  <a:pt x="503269" y="2184400"/>
                </a:lnTo>
                <a:lnTo>
                  <a:pt x="479604" y="2235200"/>
                </a:lnTo>
                <a:lnTo>
                  <a:pt x="456459" y="2273300"/>
                </a:lnTo>
                <a:lnTo>
                  <a:pt x="433836" y="2324100"/>
                </a:lnTo>
                <a:lnTo>
                  <a:pt x="411736" y="2362200"/>
                </a:lnTo>
                <a:lnTo>
                  <a:pt x="390160" y="2413000"/>
                </a:lnTo>
                <a:lnTo>
                  <a:pt x="369112" y="2451100"/>
                </a:lnTo>
                <a:lnTo>
                  <a:pt x="348591" y="2501900"/>
                </a:lnTo>
                <a:lnTo>
                  <a:pt x="328599" y="2552700"/>
                </a:lnTo>
                <a:lnTo>
                  <a:pt x="309073" y="2590800"/>
                </a:lnTo>
                <a:lnTo>
                  <a:pt x="290140" y="2641600"/>
                </a:lnTo>
                <a:lnTo>
                  <a:pt x="271800" y="2692400"/>
                </a:lnTo>
                <a:lnTo>
                  <a:pt x="254053" y="2743200"/>
                </a:lnTo>
                <a:lnTo>
                  <a:pt x="236901" y="2781300"/>
                </a:lnTo>
                <a:lnTo>
                  <a:pt x="220344" y="2832100"/>
                </a:lnTo>
                <a:lnTo>
                  <a:pt x="204382" y="2882900"/>
                </a:lnTo>
                <a:lnTo>
                  <a:pt x="189016" y="2933700"/>
                </a:lnTo>
                <a:lnTo>
                  <a:pt x="174246" y="2984500"/>
                </a:lnTo>
                <a:lnTo>
                  <a:pt x="160073" y="3022600"/>
                </a:lnTo>
                <a:lnTo>
                  <a:pt x="146497" y="3073400"/>
                </a:lnTo>
                <a:lnTo>
                  <a:pt x="133520" y="3124200"/>
                </a:lnTo>
                <a:lnTo>
                  <a:pt x="121140" y="3175000"/>
                </a:lnTo>
                <a:lnTo>
                  <a:pt x="109360" y="3225800"/>
                </a:lnTo>
                <a:lnTo>
                  <a:pt x="98179" y="3276600"/>
                </a:lnTo>
                <a:lnTo>
                  <a:pt x="87597" y="3314700"/>
                </a:lnTo>
                <a:lnTo>
                  <a:pt x="77617" y="3365500"/>
                </a:lnTo>
                <a:lnTo>
                  <a:pt x="68237" y="3416300"/>
                </a:lnTo>
                <a:lnTo>
                  <a:pt x="59459" y="3467100"/>
                </a:lnTo>
                <a:lnTo>
                  <a:pt x="51282" y="3517900"/>
                </a:lnTo>
                <a:lnTo>
                  <a:pt x="43708" y="3568700"/>
                </a:lnTo>
                <a:lnTo>
                  <a:pt x="36737" y="3619500"/>
                </a:lnTo>
                <a:lnTo>
                  <a:pt x="30370" y="3670300"/>
                </a:lnTo>
                <a:lnTo>
                  <a:pt x="24606" y="3721100"/>
                </a:lnTo>
                <a:lnTo>
                  <a:pt x="19447" y="3771900"/>
                </a:lnTo>
                <a:lnTo>
                  <a:pt x="14893" y="3822700"/>
                </a:lnTo>
                <a:lnTo>
                  <a:pt x="10945" y="3873500"/>
                </a:lnTo>
                <a:lnTo>
                  <a:pt x="7603" y="3924300"/>
                </a:lnTo>
                <a:lnTo>
                  <a:pt x="4867" y="3975100"/>
                </a:lnTo>
                <a:lnTo>
                  <a:pt x="2738" y="4025900"/>
                </a:lnTo>
                <a:lnTo>
                  <a:pt x="1217" y="4076700"/>
                </a:lnTo>
                <a:lnTo>
                  <a:pt x="304" y="4127500"/>
                </a:lnTo>
                <a:lnTo>
                  <a:pt x="0" y="4178300"/>
                </a:lnTo>
                <a:lnTo>
                  <a:pt x="304" y="4229100"/>
                </a:lnTo>
                <a:lnTo>
                  <a:pt x="1217" y="4279900"/>
                </a:lnTo>
                <a:lnTo>
                  <a:pt x="2738" y="4330700"/>
                </a:lnTo>
                <a:lnTo>
                  <a:pt x="4867" y="4381500"/>
                </a:lnTo>
                <a:lnTo>
                  <a:pt x="7603" y="4432300"/>
                </a:lnTo>
                <a:lnTo>
                  <a:pt x="10945" y="4483100"/>
                </a:lnTo>
                <a:lnTo>
                  <a:pt x="14893" y="4533900"/>
                </a:lnTo>
                <a:lnTo>
                  <a:pt x="19447" y="4584700"/>
                </a:lnTo>
                <a:lnTo>
                  <a:pt x="24606" y="4635500"/>
                </a:lnTo>
                <a:lnTo>
                  <a:pt x="30370" y="4686300"/>
                </a:lnTo>
                <a:lnTo>
                  <a:pt x="36737" y="4737100"/>
                </a:lnTo>
                <a:lnTo>
                  <a:pt x="43708" y="4787900"/>
                </a:lnTo>
                <a:lnTo>
                  <a:pt x="51282" y="4838700"/>
                </a:lnTo>
                <a:lnTo>
                  <a:pt x="59459" y="4889500"/>
                </a:lnTo>
                <a:lnTo>
                  <a:pt x="68237" y="4927600"/>
                </a:lnTo>
                <a:lnTo>
                  <a:pt x="77617" y="4978400"/>
                </a:lnTo>
                <a:lnTo>
                  <a:pt x="87597" y="5029200"/>
                </a:lnTo>
                <a:lnTo>
                  <a:pt x="98179" y="5080000"/>
                </a:lnTo>
                <a:lnTo>
                  <a:pt x="109360" y="5130800"/>
                </a:lnTo>
                <a:lnTo>
                  <a:pt x="121140" y="5181600"/>
                </a:lnTo>
                <a:lnTo>
                  <a:pt x="133520" y="5232400"/>
                </a:lnTo>
                <a:lnTo>
                  <a:pt x="146497" y="5270500"/>
                </a:lnTo>
                <a:lnTo>
                  <a:pt x="160073" y="5321300"/>
                </a:lnTo>
                <a:lnTo>
                  <a:pt x="174246" y="5372100"/>
                </a:lnTo>
                <a:lnTo>
                  <a:pt x="189016" y="5422900"/>
                </a:lnTo>
                <a:lnTo>
                  <a:pt x="204382" y="5473700"/>
                </a:lnTo>
                <a:lnTo>
                  <a:pt x="220344" y="5511800"/>
                </a:lnTo>
                <a:lnTo>
                  <a:pt x="236901" y="5562600"/>
                </a:lnTo>
                <a:lnTo>
                  <a:pt x="254053" y="5613400"/>
                </a:lnTo>
                <a:lnTo>
                  <a:pt x="271800" y="5664200"/>
                </a:lnTo>
                <a:lnTo>
                  <a:pt x="290140" y="5702300"/>
                </a:lnTo>
                <a:lnTo>
                  <a:pt x="309073" y="5753100"/>
                </a:lnTo>
                <a:lnTo>
                  <a:pt x="328599" y="5803900"/>
                </a:lnTo>
                <a:lnTo>
                  <a:pt x="348591" y="5854700"/>
                </a:lnTo>
                <a:lnTo>
                  <a:pt x="369112" y="5892800"/>
                </a:lnTo>
                <a:lnTo>
                  <a:pt x="390160" y="5943600"/>
                </a:lnTo>
                <a:lnTo>
                  <a:pt x="411736" y="5981700"/>
                </a:lnTo>
                <a:lnTo>
                  <a:pt x="433836" y="6032500"/>
                </a:lnTo>
                <a:lnTo>
                  <a:pt x="456459" y="6070600"/>
                </a:lnTo>
                <a:lnTo>
                  <a:pt x="479604" y="6121400"/>
                </a:lnTo>
                <a:lnTo>
                  <a:pt x="503269" y="6159500"/>
                </a:lnTo>
                <a:lnTo>
                  <a:pt x="527453" y="6210300"/>
                </a:lnTo>
                <a:lnTo>
                  <a:pt x="552155" y="6248400"/>
                </a:lnTo>
                <a:lnTo>
                  <a:pt x="577372" y="6299200"/>
                </a:lnTo>
                <a:lnTo>
                  <a:pt x="603103" y="6337300"/>
                </a:lnTo>
                <a:lnTo>
                  <a:pt x="629346" y="6388100"/>
                </a:lnTo>
                <a:lnTo>
                  <a:pt x="656101" y="6426200"/>
                </a:lnTo>
                <a:lnTo>
                  <a:pt x="683365" y="6464300"/>
                </a:lnTo>
                <a:lnTo>
                  <a:pt x="711138" y="6502400"/>
                </a:lnTo>
                <a:lnTo>
                  <a:pt x="739416" y="6553200"/>
                </a:lnTo>
                <a:lnTo>
                  <a:pt x="768200" y="6591300"/>
                </a:lnTo>
                <a:lnTo>
                  <a:pt x="797487" y="6629400"/>
                </a:lnTo>
                <a:lnTo>
                  <a:pt x="827277" y="6667500"/>
                </a:lnTo>
                <a:lnTo>
                  <a:pt x="857566" y="6718300"/>
                </a:lnTo>
                <a:lnTo>
                  <a:pt x="888355" y="6756400"/>
                </a:lnTo>
                <a:lnTo>
                  <a:pt x="919640" y="6794500"/>
                </a:lnTo>
                <a:lnTo>
                  <a:pt x="951422" y="6832600"/>
                </a:lnTo>
                <a:lnTo>
                  <a:pt x="983698" y="6870700"/>
                </a:lnTo>
                <a:lnTo>
                  <a:pt x="4052369" y="6870700"/>
                </a:lnTo>
                <a:lnTo>
                  <a:pt x="4052369" y="6540500"/>
                </a:lnTo>
                <a:lnTo>
                  <a:pt x="3937493" y="6540500"/>
                </a:lnTo>
                <a:lnTo>
                  <a:pt x="3890417" y="6527800"/>
                </a:lnTo>
                <a:lnTo>
                  <a:pt x="3843620" y="6527800"/>
                </a:lnTo>
                <a:lnTo>
                  <a:pt x="3797111" y="6515100"/>
                </a:lnTo>
                <a:lnTo>
                  <a:pt x="3750899" y="6515100"/>
                </a:lnTo>
                <a:lnTo>
                  <a:pt x="3393010" y="6413500"/>
                </a:lnTo>
                <a:lnTo>
                  <a:pt x="3307157" y="6388100"/>
                </a:lnTo>
                <a:lnTo>
                  <a:pt x="3264824" y="6362700"/>
                </a:lnTo>
                <a:lnTo>
                  <a:pt x="3222900" y="6350000"/>
                </a:lnTo>
                <a:lnTo>
                  <a:pt x="3181393" y="6324600"/>
                </a:lnTo>
                <a:lnTo>
                  <a:pt x="3140313" y="6311900"/>
                </a:lnTo>
                <a:lnTo>
                  <a:pt x="3099668" y="6286500"/>
                </a:lnTo>
                <a:lnTo>
                  <a:pt x="3059469" y="6273800"/>
                </a:lnTo>
                <a:lnTo>
                  <a:pt x="2980444" y="6223000"/>
                </a:lnTo>
                <a:lnTo>
                  <a:pt x="2903311" y="6172200"/>
                </a:lnTo>
                <a:lnTo>
                  <a:pt x="2828144" y="6121400"/>
                </a:lnTo>
                <a:lnTo>
                  <a:pt x="2755018" y="6070600"/>
                </a:lnTo>
                <a:lnTo>
                  <a:pt x="2719243" y="6045200"/>
                </a:lnTo>
                <a:lnTo>
                  <a:pt x="2684005" y="6019800"/>
                </a:lnTo>
                <a:lnTo>
                  <a:pt x="2649315" y="5994400"/>
                </a:lnTo>
                <a:lnTo>
                  <a:pt x="2615182" y="5956300"/>
                </a:lnTo>
                <a:lnTo>
                  <a:pt x="2581614" y="5930900"/>
                </a:lnTo>
                <a:lnTo>
                  <a:pt x="2548621" y="5905500"/>
                </a:lnTo>
                <a:lnTo>
                  <a:pt x="2516212" y="5867400"/>
                </a:lnTo>
                <a:lnTo>
                  <a:pt x="2484396" y="5842000"/>
                </a:lnTo>
                <a:lnTo>
                  <a:pt x="2453184" y="5803900"/>
                </a:lnTo>
                <a:lnTo>
                  <a:pt x="2422583" y="5765800"/>
                </a:lnTo>
                <a:lnTo>
                  <a:pt x="2392603" y="5740400"/>
                </a:lnTo>
                <a:lnTo>
                  <a:pt x="2363254" y="5702300"/>
                </a:lnTo>
                <a:lnTo>
                  <a:pt x="2334545" y="5664200"/>
                </a:lnTo>
                <a:lnTo>
                  <a:pt x="2306484" y="5638800"/>
                </a:lnTo>
                <a:lnTo>
                  <a:pt x="2279082" y="5600700"/>
                </a:lnTo>
                <a:lnTo>
                  <a:pt x="2252347" y="5562600"/>
                </a:lnTo>
                <a:lnTo>
                  <a:pt x="2226289" y="5524500"/>
                </a:lnTo>
                <a:lnTo>
                  <a:pt x="2200917" y="5486400"/>
                </a:lnTo>
                <a:lnTo>
                  <a:pt x="2176241" y="5448300"/>
                </a:lnTo>
                <a:lnTo>
                  <a:pt x="2152269" y="5410200"/>
                </a:lnTo>
                <a:lnTo>
                  <a:pt x="2129011" y="5372100"/>
                </a:lnTo>
                <a:lnTo>
                  <a:pt x="2106475" y="5334000"/>
                </a:lnTo>
                <a:lnTo>
                  <a:pt x="2084673" y="5295900"/>
                </a:lnTo>
                <a:lnTo>
                  <a:pt x="2063611" y="5257800"/>
                </a:lnTo>
                <a:lnTo>
                  <a:pt x="2043301" y="5207000"/>
                </a:lnTo>
                <a:lnTo>
                  <a:pt x="2023751" y="5168900"/>
                </a:lnTo>
                <a:lnTo>
                  <a:pt x="2004970" y="5130800"/>
                </a:lnTo>
                <a:lnTo>
                  <a:pt x="1986967" y="5092700"/>
                </a:lnTo>
                <a:lnTo>
                  <a:pt x="1969753" y="5041900"/>
                </a:lnTo>
                <a:lnTo>
                  <a:pt x="1953336" y="5003800"/>
                </a:lnTo>
                <a:lnTo>
                  <a:pt x="1937725" y="4965700"/>
                </a:lnTo>
                <a:lnTo>
                  <a:pt x="1922930" y="4914900"/>
                </a:lnTo>
                <a:lnTo>
                  <a:pt x="1908959" y="4876800"/>
                </a:lnTo>
                <a:lnTo>
                  <a:pt x="1895823" y="4826000"/>
                </a:lnTo>
                <a:lnTo>
                  <a:pt x="1883531" y="4787900"/>
                </a:lnTo>
                <a:lnTo>
                  <a:pt x="1872091" y="4737100"/>
                </a:lnTo>
                <a:lnTo>
                  <a:pt x="1861513" y="4699000"/>
                </a:lnTo>
                <a:lnTo>
                  <a:pt x="1851806" y="4648200"/>
                </a:lnTo>
                <a:lnTo>
                  <a:pt x="1842980" y="4597400"/>
                </a:lnTo>
                <a:lnTo>
                  <a:pt x="1835044" y="4559300"/>
                </a:lnTo>
                <a:lnTo>
                  <a:pt x="1828006" y="4508500"/>
                </a:lnTo>
                <a:lnTo>
                  <a:pt x="1821877" y="4457700"/>
                </a:lnTo>
                <a:lnTo>
                  <a:pt x="1816666" y="4419600"/>
                </a:lnTo>
                <a:lnTo>
                  <a:pt x="1812381" y="4368800"/>
                </a:lnTo>
                <a:lnTo>
                  <a:pt x="1809032" y="4318000"/>
                </a:lnTo>
                <a:lnTo>
                  <a:pt x="1806629" y="4267200"/>
                </a:lnTo>
                <a:lnTo>
                  <a:pt x="1805180" y="4229100"/>
                </a:lnTo>
                <a:lnTo>
                  <a:pt x="1804695" y="4178300"/>
                </a:lnTo>
                <a:lnTo>
                  <a:pt x="1805180" y="4127500"/>
                </a:lnTo>
                <a:lnTo>
                  <a:pt x="1806629" y="4076700"/>
                </a:lnTo>
                <a:lnTo>
                  <a:pt x="1809032" y="4025900"/>
                </a:lnTo>
                <a:lnTo>
                  <a:pt x="1812381" y="3987800"/>
                </a:lnTo>
                <a:lnTo>
                  <a:pt x="1816666" y="3937000"/>
                </a:lnTo>
                <a:lnTo>
                  <a:pt x="1821877" y="3886200"/>
                </a:lnTo>
                <a:lnTo>
                  <a:pt x="1828007" y="3848100"/>
                </a:lnTo>
                <a:lnTo>
                  <a:pt x="1835044" y="3797300"/>
                </a:lnTo>
                <a:lnTo>
                  <a:pt x="1842981" y="3746500"/>
                </a:lnTo>
                <a:lnTo>
                  <a:pt x="1851807" y="3708400"/>
                </a:lnTo>
                <a:lnTo>
                  <a:pt x="1861514" y="3657600"/>
                </a:lnTo>
                <a:lnTo>
                  <a:pt x="1872092" y="3619500"/>
                </a:lnTo>
                <a:lnTo>
                  <a:pt x="1883532" y="3568700"/>
                </a:lnTo>
                <a:lnTo>
                  <a:pt x="1895824" y="3517900"/>
                </a:lnTo>
                <a:lnTo>
                  <a:pt x="1908961" y="3479800"/>
                </a:lnTo>
                <a:lnTo>
                  <a:pt x="1922931" y="3441700"/>
                </a:lnTo>
                <a:lnTo>
                  <a:pt x="1937726" y="3390900"/>
                </a:lnTo>
                <a:lnTo>
                  <a:pt x="1953337" y="3352800"/>
                </a:lnTo>
                <a:lnTo>
                  <a:pt x="1969755" y="3302000"/>
                </a:lnTo>
                <a:lnTo>
                  <a:pt x="1986969" y="3263900"/>
                </a:lnTo>
                <a:lnTo>
                  <a:pt x="2004972" y="3225800"/>
                </a:lnTo>
                <a:lnTo>
                  <a:pt x="2023753" y="3175000"/>
                </a:lnTo>
                <a:lnTo>
                  <a:pt x="2043303" y="3136900"/>
                </a:lnTo>
                <a:lnTo>
                  <a:pt x="2063614" y="3098800"/>
                </a:lnTo>
                <a:lnTo>
                  <a:pt x="2084675" y="3060700"/>
                </a:lnTo>
                <a:lnTo>
                  <a:pt x="2106478" y="3022600"/>
                </a:lnTo>
                <a:lnTo>
                  <a:pt x="2129013" y="2984500"/>
                </a:lnTo>
                <a:lnTo>
                  <a:pt x="2152272" y="2946400"/>
                </a:lnTo>
                <a:lnTo>
                  <a:pt x="2176244" y="2908300"/>
                </a:lnTo>
                <a:lnTo>
                  <a:pt x="2200921" y="2870200"/>
                </a:lnTo>
                <a:lnTo>
                  <a:pt x="2226293" y="2832100"/>
                </a:lnTo>
                <a:lnTo>
                  <a:pt x="2252351" y="2794000"/>
                </a:lnTo>
                <a:lnTo>
                  <a:pt x="2279086" y="2755900"/>
                </a:lnTo>
                <a:lnTo>
                  <a:pt x="2306488" y="2717800"/>
                </a:lnTo>
                <a:lnTo>
                  <a:pt x="2334549" y="2679700"/>
                </a:lnTo>
                <a:lnTo>
                  <a:pt x="2363258" y="2654300"/>
                </a:lnTo>
                <a:lnTo>
                  <a:pt x="2392608" y="2616200"/>
                </a:lnTo>
                <a:lnTo>
                  <a:pt x="2422587" y="2578100"/>
                </a:lnTo>
                <a:lnTo>
                  <a:pt x="2453188" y="2552700"/>
                </a:lnTo>
                <a:lnTo>
                  <a:pt x="2484401" y="2514600"/>
                </a:lnTo>
                <a:lnTo>
                  <a:pt x="2516217" y="2489200"/>
                </a:lnTo>
                <a:lnTo>
                  <a:pt x="2548626" y="2451100"/>
                </a:lnTo>
                <a:lnTo>
                  <a:pt x="2581619" y="2425700"/>
                </a:lnTo>
                <a:lnTo>
                  <a:pt x="2615187" y="2387600"/>
                </a:lnTo>
                <a:lnTo>
                  <a:pt x="2649321" y="2362200"/>
                </a:lnTo>
                <a:lnTo>
                  <a:pt x="2684011" y="2336800"/>
                </a:lnTo>
                <a:lnTo>
                  <a:pt x="2719248" y="2311400"/>
                </a:lnTo>
                <a:lnTo>
                  <a:pt x="2755023" y="2273300"/>
                </a:lnTo>
                <a:lnTo>
                  <a:pt x="2828150" y="2222500"/>
                </a:lnTo>
                <a:lnTo>
                  <a:pt x="2903317" y="2171700"/>
                </a:lnTo>
                <a:lnTo>
                  <a:pt x="2941642" y="2146300"/>
                </a:lnTo>
                <a:lnTo>
                  <a:pt x="2980450" y="2133600"/>
                </a:lnTo>
                <a:lnTo>
                  <a:pt x="3059475" y="2082800"/>
                </a:lnTo>
                <a:lnTo>
                  <a:pt x="3099674" y="2057400"/>
                </a:lnTo>
                <a:lnTo>
                  <a:pt x="3140318" y="2044700"/>
                </a:lnTo>
                <a:lnTo>
                  <a:pt x="3181398" y="2019300"/>
                </a:lnTo>
                <a:lnTo>
                  <a:pt x="3222905" y="2006600"/>
                </a:lnTo>
                <a:lnTo>
                  <a:pt x="3264830" y="1981200"/>
                </a:lnTo>
                <a:lnTo>
                  <a:pt x="3393015" y="1943100"/>
                </a:lnTo>
                <a:lnTo>
                  <a:pt x="3436517" y="1917700"/>
                </a:lnTo>
                <a:lnTo>
                  <a:pt x="3614143" y="1866900"/>
                </a:lnTo>
                <a:lnTo>
                  <a:pt x="3659408" y="1866900"/>
                </a:lnTo>
                <a:lnTo>
                  <a:pt x="3797114" y="1828800"/>
                </a:lnTo>
                <a:lnTo>
                  <a:pt x="3843623" y="1828800"/>
                </a:lnTo>
                <a:lnTo>
                  <a:pt x="3890420" y="1816100"/>
                </a:lnTo>
                <a:lnTo>
                  <a:pt x="3984839" y="1816100"/>
                </a:lnTo>
                <a:lnTo>
                  <a:pt x="4032444" y="1803400"/>
                </a:lnTo>
                <a:lnTo>
                  <a:pt x="4052369" y="1803400"/>
                </a:lnTo>
                <a:lnTo>
                  <a:pt x="4052369" y="0"/>
                </a:lnTo>
                <a:close/>
              </a:path>
            </a:pathLst>
          </a:custGeom>
          <a:solidFill>
            <a:srgbClr val="000508">
              <a:alpha val="23000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object 27">
            <a:extLst>
              <a:ext uri="{FF2B5EF4-FFF2-40B4-BE49-F238E27FC236}">
                <a16:creationId xmlns:a16="http://schemas.microsoft.com/office/drawing/2014/main" id="{09E3399B-CA30-2321-3236-47C603069CCA}"/>
              </a:ext>
            </a:extLst>
          </p:cNvPr>
          <p:cNvSpPr/>
          <p:nvPr/>
        </p:nvSpPr>
        <p:spPr>
          <a:xfrm>
            <a:off x="10589787" y="5157101"/>
            <a:ext cx="2265045" cy="2265045"/>
          </a:xfrm>
          <a:custGeom>
            <a:avLst/>
            <a:gdLst/>
            <a:ahLst/>
            <a:cxnLst/>
            <a:rect l="l" t="t" r="r" b="b"/>
            <a:pathLst>
              <a:path w="2265045" h="2265045">
                <a:moveTo>
                  <a:pt x="2264448" y="0"/>
                </a:moveTo>
                <a:lnTo>
                  <a:pt x="2213617" y="554"/>
                </a:lnTo>
                <a:lnTo>
                  <a:pt x="2162960" y="2217"/>
                </a:lnTo>
                <a:lnTo>
                  <a:pt x="2112484" y="4987"/>
                </a:lnTo>
                <a:lnTo>
                  <a:pt x="2062198" y="8862"/>
                </a:lnTo>
                <a:lnTo>
                  <a:pt x="2012110" y="13839"/>
                </a:lnTo>
                <a:lnTo>
                  <a:pt x="1962229" y="19919"/>
                </a:lnTo>
                <a:lnTo>
                  <a:pt x="1912564" y="27098"/>
                </a:lnTo>
                <a:lnTo>
                  <a:pt x="1863123" y="35375"/>
                </a:lnTo>
                <a:lnTo>
                  <a:pt x="1813914" y="44748"/>
                </a:lnTo>
                <a:lnTo>
                  <a:pt x="1764945" y="55216"/>
                </a:lnTo>
                <a:lnTo>
                  <a:pt x="1716226" y="66776"/>
                </a:lnTo>
                <a:lnTo>
                  <a:pt x="1667764" y="79428"/>
                </a:lnTo>
                <a:lnTo>
                  <a:pt x="1619568" y="93169"/>
                </a:lnTo>
                <a:lnTo>
                  <a:pt x="1571647" y="107998"/>
                </a:lnTo>
                <a:lnTo>
                  <a:pt x="1524009" y="123913"/>
                </a:lnTo>
                <a:lnTo>
                  <a:pt x="1476662" y="140912"/>
                </a:lnTo>
                <a:lnTo>
                  <a:pt x="1429616" y="158993"/>
                </a:lnTo>
                <a:lnTo>
                  <a:pt x="1382877" y="178155"/>
                </a:lnTo>
                <a:lnTo>
                  <a:pt x="1335569" y="198795"/>
                </a:lnTo>
                <a:lnTo>
                  <a:pt x="1288842" y="220449"/>
                </a:lnTo>
                <a:lnTo>
                  <a:pt x="1242705" y="243112"/>
                </a:lnTo>
                <a:lnTo>
                  <a:pt x="1197165" y="266780"/>
                </a:lnTo>
                <a:lnTo>
                  <a:pt x="1152230" y="291445"/>
                </a:lnTo>
                <a:lnTo>
                  <a:pt x="1107910" y="317103"/>
                </a:lnTo>
                <a:lnTo>
                  <a:pt x="1064211" y="343747"/>
                </a:lnTo>
                <a:lnTo>
                  <a:pt x="1021143" y="371373"/>
                </a:lnTo>
                <a:lnTo>
                  <a:pt x="978714" y="399975"/>
                </a:lnTo>
                <a:lnTo>
                  <a:pt x="936931" y="429547"/>
                </a:lnTo>
                <a:lnTo>
                  <a:pt x="895803" y="460083"/>
                </a:lnTo>
                <a:lnTo>
                  <a:pt x="855338" y="491578"/>
                </a:lnTo>
                <a:lnTo>
                  <a:pt x="815544" y="524027"/>
                </a:lnTo>
                <a:lnTo>
                  <a:pt x="776429" y="557424"/>
                </a:lnTo>
                <a:lnTo>
                  <a:pt x="738002" y="591762"/>
                </a:lnTo>
                <a:lnTo>
                  <a:pt x="700271" y="627038"/>
                </a:lnTo>
                <a:lnTo>
                  <a:pt x="663244" y="663244"/>
                </a:lnTo>
                <a:lnTo>
                  <a:pt x="627036" y="700271"/>
                </a:lnTo>
                <a:lnTo>
                  <a:pt x="591759" y="738002"/>
                </a:lnTo>
                <a:lnTo>
                  <a:pt x="557419" y="776429"/>
                </a:lnTo>
                <a:lnTo>
                  <a:pt x="524022" y="815544"/>
                </a:lnTo>
                <a:lnTo>
                  <a:pt x="491573" y="855338"/>
                </a:lnTo>
                <a:lnTo>
                  <a:pt x="460077" y="895803"/>
                </a:lnTo>
                <a:lnTo>
                  <a:pt x="429541" y="936931"/>
                </a:lnTo>
                <a:lnTo>
                  <a:pt x="399970" y="978714"/>
                </a:lnTo>
                <a:lnTo>
                  <a:pt x="371369" y="1021143"/>
                </a:lnTo>
                <a:lnTo>
                  <a:pt x="343744" y="1064211"/>
                </a:lnTo>
                <a:lnTo>
                  <a:pt x="317100" y="1107910"/>
                </a:lnTo>
                <a:lnTo>
                  <a:pt x="291443" y="1152230"/>
                </a:lnTo>
                <a:lnTo>
                  <a:pt x="266778" y="1197165"/>
                </a:lnTo>
                <a:lnTo>
                  <a:pt x="243112" y="1242705"/>
                </a:lnTo>
                <a:lnTo>
                  <a:pt x="220448" y="1288842"/>
                </a:lnTo>
                <a:lnTo>
                  <a:pt x="198794" y="1335569"/>
                </a:lnTo>
                <a:lnTo>
                  <a:pt x="178155" y="1382877"/>
                </a:lnTo>
                <a:lnTo>
                  <a:pt x="158991" y="1429616"/>
                </a:lnTo>
                <a:lnTo>
                  <a:pt x="140908" y="1476662"/>
                </a:lnTo>
                <a:lnTo>
                  <a:pt x="123908" y="1524009"/>
                </a:lnTo>
                <a:lnTo>
                  <a:pt x="107993" y="1571647"/>
                </a:lnTo>
                <a:lnTo>
                  <a:pt x="93164" y="1619568"/>
                </a:lnTo>
                <a:lnTo>
                  <a:pt x="79422" y="1667764"/>
                </a:lnTo>
                <a:lnTo>
                  <a:pt x="66771" y="1716226"/>
                </a:lnTo>
                <a:lnTo>
                  <a:pt x="55211" y="1764945"/>
                </a:lnTo>
                <a:lnTo>
                  <a:pt x="44743" y="1813914"/>
                </a:lnTo>
                <a:lnTo>
                  <a:pt x="35371" y="1863123"/>
                </a:lnTo>
                <a:lnTo>
                  <a:pt x="27094" y="1912564"/>
                </a:lnTo>
                <a:lnTo>
                  <a:pt x="19916" y="1962229"/>
                </a:lnTo>
                <a:lnTo>
                  <a:pt x="13837" y="2012110"/>
                </a:lnTo>
                <a:lnTo>
                  <a:pt x="8860" y="2062198"/>
                </a:lnTo>
                <a:lnTo>
                  <a:pt x="4986" y="2112484"/>
                </a:lnTo>
                <a:lnTo>
                  <a:pt x="2217" y="2162960"/>
                </a:lnTo>
                <a:lnTo>
                  <a:pt x="554" y="2213617"/>
                </a:lnTo>
                <a:lnTo>
                  <a:pt x="0" y="2264448"/>
                </a:lnTo>
                <a:lnTo>
                  <a:pt x="978433" y="2264460"/>
                </a:lnTo>
                <a:lnTo>
                  <a:pt x="979322" y="2216309"/>
                </a:lnTo>
                <a:lnTo>
                  <a:pt x="981967" y="2168611"/>
                </a:lnTo>
                <a:lnTo>
                  <a:pt x="986338" y="2121386"/>
                </a:lnTo>
                <a:lnTo>
                  <a:pt x="992402" y="2074664"/>
                </a:lnTo>
                <a:lnTo>
                  <a:pt x="1000130" y="2028478"/>
                </a:lnTo>
                <a:lnTo>
                  <a:pt x="1009488" y="1982858"/>
                </a:lnTo>
                <a:lnTo>
                  <a:pt x="1020447" y="1937835"/>
                </a:lnTo>
                <a:lnTo>
                  <a:pt x="1032974" y="1893442"/>
                </a:lnTo>
                <a:lnTo>
                  <a:pt x="1047039" y="1849709"/>
                </a:lnTo>
                <a:lnTo>
                  <a:pt x="1062609" y="1806667"/>
                </a:lnTo>
                <a:lnTo>
                  <a:pt x="1079655" y="1764349"/>
                </a:lnTo>
                <a:lnTo>
                  <a:pt x="1098144" y="1722785"/>
                </a:lnTo>
                <a:lnTo>
                  <a:pt x="1118044" y="1682006"/>
                </a:lnTo>
                <a:lnTo>
                  <a:pt x="1139326" y="1642045"/>
                </a:lnTo>
                <a:lnTo>
                  <a:pt x="1161957" y="1602932"/>
                </a:lnTo>
                <a:lnTo>
                  <a:pt x="1185906" y="1564698"/>
                </a:lnTo>
                <a:lnTo>
                  <a:pt x="1211142" y="1527375"/>
                </a:lnTo>
                <a:lnTo>
                  <a:pt x="1237633" y="1490995"/>
                </a:lnTo>
                <a:lnTo>
                  <a:pt x="1265349" y="1455588"/>
                </a:lnTo>
                <a:lnTo>
                  <a:pt x="1294257" y="1421186"/>
                </a:lnTo>
                <a:lnTo>
                  <a:pt x="1324326" y="1387820"/>
                </a:lnTo>
                <a:lnTo>
                  <a:pt x="1355526" y="1355521"/>
                </a:lnTo>
                <a:lnTo>
                  <a:pt x="1387825" y="1324322"/>
                </a:lnTo>
                <a:lnTo>
                  <a:pt x="1421191" y="1294252"/>
                </a:lnTo>
                <a:lnTo>
                  <a:pt x="1455593" y="1265344"/>
                </a:lnTo>
                <a:lnTo>
                  <a:pt x="1491000" y="1237629"/>
                </a:lnTo>
                <a:lnTo>
                  <a:pt x="1527381" y="1211138"/>
                </a:lnTo>
                <a:lnTo>
                  <a:pt x="1564704" y="1185903"/>
                </a:lnTo>
                <a:lnTo>
                  <a:pt x="1602937" y="1161954"/>
                </a:lnTo>
                <a:lnTo>
                  <a:pt x="1642051" y="1139323"/>
                </a:lnTo>
                <a:lnTo>
                  <a:pt x="1682012" y="1118042"/>
                </a:lnTo>
                <a:lnTo>
                  <a:pt x="1722790" y="1098142"/>
                </a:lnTo>
                <a:lnTo>
                  <a:pt x="1764354" y="1079653"/>
                </a:lnTo>
                <a:lnTo>
                  <a:pt x="1806673" y="1062608"/>
                </a:lnTo>
                <a:lnTo>
                  <a:pt x="1849714" y="1047038"/>
                </a:lnTo>
                <a:lnTo>
                  <a:pt x="1893446" y="1032973"/>
                </a:lnTo>
                <a:lnTo>
                  <a:pt x="1937840" y="1020446"/>
                </a:lnTo>
                <a:lnTo>
                  <a:pt x="1982862" y="1009488"/>
                </a:lnTo>
                <a:lnTo>
                  <a:pt x="2028481" y="1000129"/>
                </a:lnTo>
                <a:lnTo>
                  <a:pt x="2074667" y="992402"/>
                </a:lnTo>
                <a:lnTo>
                  <a:pt x="2121388" y="986338"/>
                </a:lnTo>
                <a:lnTo>
                  <a:pt x="2168613" y="981967"/>
                </a:lnTo>
                <a:lnTo>
                  <a:pt x="2216310" y="979322"/>
                </a:lnTo>
                <a:lnTo>
                  <a:pt x="2264448" y="978433"/>
                </a:lnTo>
                <a:lnTo>
                  <a:pt x="2264448" y="0"/>
                </a:lnTo>
                <a:close/>
              </a:path>
            </a:pathLst>
          </a:custGeom>
          <a:solidFill>
            <a:srgbClr val="2D5C47">
              <a:alpha val="56000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object 49">
            <a:extLst>
              <a:ext uri="{FF2B5EF4-FFF2-40B4-BE49-F238E27FC236}">
                <a16:creationId xmlns:a16="http://schemas.microsoft.com/office/drawing/2014/main" id="{88C78E0A-7019-B2EC-F713-88D05006AA5E}"/>
              </a:ext>
            </a:extLst>
          </p:cNvPr>
          <p:cNvSpPr/>
          <p:nvPr/>
        </p:nvSpPr>
        <p:spPr>
          <a:xfrm rot="10800000">
            <a:off x="0" y="5208421"/>
            <a:ext cx="921356" cy="1662277"/>
          </a:xfrm>
          <a:custGeom>
            <a:avLst/>
            <a:gdLst/>
            <a:ahLst/>
            <a:cxnLst/>
            <a:rect l="l" t="t" r="r" b="b"/>
            <a:pathLst>
              <a:path w="1737995" h="3135630">
                <a:moveTo>
                  <a:pt x="1737568" y="0"/>
                </a:moveTo>
                <a:lnTo>
                  <a:pt x="354698" y="0"/>
                </a:lnTo>
                <a:lnTo>
                  <a:pt x="352918" y="2531"/>
                </a:lnTo>
                <a:lnTo>
                  <a:pt x="327651" y="40231"/>
                </a:lnTo>
                <a:lnTo>
                  <a:pt x="303215" y="78531"/>
                </a:lnTo>
                <a:lnTo>
                  <a:pt x="279623" y="117420"/>
                </a:lnTo>
                <a:lnTo>
                  <a:pt x="256889" y="156884"/>
                </a:lnTo>
                <a:lnTo>
                  <a:pt x="235025" y="196909"/>
                </a:lnTo>
                <a:lnTo>
                  <a:pt x="214044" y="237483"/>
                </a:lnTo>
                <a:lnTo>
                  <a:pt x="193959" y="278592"/>
                </a:lnTo>
                <a:lnTo>
                  <a:pt x="174784" y="320224"/>
                </a:lnTo>
                <a:lnTo>
                  <a:pt x="156531" y="362364"/>
                </a:lnTo>
                <a:lnTo>
                  <a:pt x="139214" y="405001"/>
                </a:lnTo>
                <a:lnTo>
                  <a:pt x="122845" y="448120"/>
                </a:lnTo>
                <a:lnTo>
                  <a:pt x="107438" y="491709"/>
                </a:lnTo>
                <a:lnTo>
                  <a:pt x="93005" y="535754"/>
                </a:lnTo>
                <a:lnTo>
                  <a:pt x="79560" y="580243"/>
                </a:lnTo>
                <a:lnTo>
                  <a:pt x="67115" y="625162"/>
                </a:lnTo>
                <a:lnTo>
                  <a:pt x="55684" y="670498"/>
                </a:lnTo>
                <a:lnTo>
                  <a:pt x="45280" y="716238"/>
                </a:lnTo>
                <a:lnTo>
                  <a:pt x="35916" y="762369"/>
                </a:lnTo>
                <a:lnTo>
                  <a:pt x="27605" y="808877"/>
                </a:lnTo>
                <a:lnTo>
                  <a:pt x="20359" y="855750"/>
                </a:lnTo>
                <a:lnTo>
                  <a:pt x="14192" y="902974"/>
                </a:lnTo>
                <a:lnTo>
                  <a:pt x="9118" y="950537"/>
                </a:lnTo>
                <a:lnTo>
                  <a:pt x="5148" y="998424"/>
                </a:lnTo>
                <a:lnTo>
                  <a:pt x="2296" y="1046623"/>
                </a:lnTo>
                <a:lnTo>
                  <a:pt x="576" y="1095122"/>
                </a:lnTo>
                <a:lnTo>
                  <a:pt x="0" y="1143905"/>
                </a:lnTo>
                <a:lnTo>
                  <a:pt x="576" y="1192689"/>
                </a:lnTo>
                <a:lnTo>
                  <a:pt x="2296" y="1241187"/>
                </a:lnTo>
                <a:lnTo>
                  <a:pt x="5148" y="1289386"/>
                </a:lnTo>
                <a:lnTo>
                  <a:pt x="9118" y="1337274"/>
                </a:lnTo>
                <a:lnTo>
                  <a:pt x="14192" y="1384836"/>
                </a:lnTo>
                <a:lnTo>
                  <a:pt x="20359" y="1432060"/>
                </a:lnTo>
                <a:lnTo>
                  <a:pt x="27605" y="1478933"/>
                </a:lnTo>
                <a:lnTo>
                  <a:pt x="35916" y="1525442"/>
                </a:lnTo>
                <a:lnTo>
                  <a:pt x="45280" y="1571572"/>
                </a:lnTo>
                <a:lnTo>
                  <a:pt x="55684" y="1617312"/>
                </a:lnTo>
                <a:lnTo>
                  <a:pt x="67115" y="1662648"/>
                </a:lnTo>
                <a:lnTo>
                  <a:pt x="79560" y="1707567"/>
                </a:lnTo>
                <a:lnTo>
                  <a:pt x="93005" y="1752056"/>
                </a:lnTo>
                <a:lnTo>
                  <a:pt x="107438" y="1796102"/>
                </a:lnTo>
                <a:lnTo>
                  <a:pt x="122845" y="1839691"/>
                </a:lnTo>
                <a:lnTo>
                  <a:pt x="139214" y="1882810"/>
                </a:lnTo>
                <a:lnTo>
                  <a:pt x="156531" y="1925446"/>
                </a:lnTo>
                <a:lnTo>
                  <a:pt x="174784" y="1967587"/>
                </a:lnTo>
                <a:lnTo>
                  <a:pt x="193959" y="2009218"/>
                </a:lnTo>
                <a:lnTo>
                  <a:pt x="214044" y="2050327"/>
                </a:lnTo>
                <a:lnTo>
                  <a:pt x="235025" y="2090901"/>
                </a:lnTo>
                <a:lnTo>
                  <a:pt x="256889" y="2130927"/>
                </a:lnTo>
                <a:lnTo>
                  <a:pt x="279623" y="2170390"/>
                </a:lnTo>
                <a:lnTo>
                  <a:pt x="303215" y="2209279"/>
                </a:lnTo>
                <a:lnTo>
                  <a:pt x="327651" y="2247580"/>
                </a:lnTo>
                <a:lnTo>
                  <a:pt x="352918" y="2285279"/>
                </a:lnTo>
                <a:lnTo>
                  <a:pt x="379003" y="2322365"/>
                </a:lnTo>
                <a:lnTo>
                  <a:pt x="405892" y="2358823"/>
                </a:lnTo>
                <a:lnTo>
                  <a:pt x="433574" y="2394640"/>
                </a:lnTo>
                <a:lnTo>
                  <a:pt x="462035" y="2429804"/>
                </a:lnTo>
                <a:lnTo>
                  <a:pt x="491262" y="2464301"/>
                </a:lnTo>
                <a:lnTo>
                  <a:pt x="521242" y="2498118"/>
                </a:lnTo>
                <a:lnTo>
                  <a:pt x="551961" y="2531241"/>
                </a:lnTo>
                <a:lnTo>
                  <a:pt x="583407" y="2563659"/>
                </a:lnTo>
                <a:lnTo>
                  <a:pt x="615567" y="2595357"/>
                </a:lnTo>
                <a:lnTo>
                  <a:pt x="648428" y="2626322"/>
                </a:lnTo>
                <a:lnTo>
                  <a:pt x="681976" y="2656542"/>
                </a:lnTo>
                <a:lnTo>
                  <a:pt x="716199" y="2686003"/>
                </a:lnTo>
                <a:lnTo>
                  <a:pt x="751083" y="2714691"/>
                </a:lnTo>
                <a:lnTo>
                  <a:pt x="786616" y="2742595"/>
                </a:lnTo>
                <a:lnTo>
                  <a:pt x="822785" y="2769700"/>
                </a:lnTo>
                <a:lnTo>
                  <a:pt x="859575" y="2795994"/>
                </a:lnTo>
                <a:lnTo>
                  <a:pt x="896976" y="2821463"/>
                </a:lnTo>
                <a:lnTo>
                  <a:pt x="934972" y="2846094"/>
                </a:lnTo>
                <a:lnTo>
                  <a:pt x="973552" y="2869875"/>
                </a:lnTo>
                <a:lnTo>
                  <a:pt x="1012702" y="2892791"/>
                </a:lnTo>
                <a:lnTo>
                  <a:pt x="1052409" y="2914831"/>
                </a:lnTo>
                <a:lnTo>
                  <a:pt x="1092661" y="2935979"/>
                </a:lnTo>
                <a:lnTo>
                  <a:pt x="1133443" y="2956225"/>
                </a:lnTo>
                <a:lnTo>
                  <a:pt x="1174744" y="2975554"/>
                </a:lnTo>
                <a:lnTo>
                  <a:pt x="1216550" y="2993952"/>
                </a:lnTo>
                <a:lnTo>
                  <a:pt x="1258847" y="3011408"/>
                </a:lnTo>
                <a:lnTo>
                  <a:pt x="1301624" y="3027908"/>
                </a:lnTo>
                <a:lnTo>
                  <a:pt x="1344867" y="3043439"/>
                </a:lnTo>
                <a:lnTo>
                  <a:pt x="1388562" y="3057987"/>
                </a:lnTo>
                <a:lnTo>
                  <a:pt x="1432697" y="3071540"/>
                </a:lnTo>
                <a:lnTo>
                  <a:pt x="1477260" y="3084084"/>
                </a:lnTo>
                <a:lnTo>
                  <a:pt x="1522235" y="3095607"/>
                </a:lnTo>
                <a:lnTo>
                  <a:pt x="1567612" y="3106094"/>
                </a:lnTo>
                <a:lnTo>
                  <a:pt x="1613376" y="3115533"/>
                </a:lnTo>
                <a:lnTo>
                  <a:pt x="1659515" y="3123911"/>
                </a:lnTo>
                <a:lnTo>
                  <a:pt x="1706015" y="3131215"/>
                </a:lnTo>
                <a:lnTo>
                  <a:pt x="1737568" y="3135401"/>
                </a:lnTo>
                <a:lnTo>
                  <a:pt x="1737568" y="0"/>
                </a:lnTo>
                <a:close/>
              </a:path>
            </a:pathLst>
          </a:custGeom>
          <a:solidFill>
            <a:schemeClr val="tx2">
              <a:lumMod val="50000"/>
              <a:alpha val="42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1D73ECA-EAC8-078B-492B-9CCDEE4F5600}"/>
              </a:ext>
            </a:extLst>
          </p:cNvPr>
          <p:cNvSpPr/>
          <p:nvPr/>
        </p:nvSpPr>
        <p:spPr>
          <a:xfrm>
            <a:off x="435448" y="2215346"/>
            <a:ext cx="10588797" cy="279153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4800" b="1" dirty="0">
                <a:solidFill>
                  <a:prstClr val="white"/>
                </a:solidFill>
                <a:latin typeface="Arial"/>
                <a:sym typeface="+mn-lt"/>
              </a:rPr>
              <a:t>Forest Stack Open Innovation Challenge</a:t>
            </a:r>
          </a:p>
          <a:p>
            <a:r>
              <a:rPr lang="en-US" sz="2800" dirty="0"/>
              <a:t>Round 1 Submission</a:t>
            </a:r>
          </a:p>
          <a:p>
            <a:endParaRPr lang="en-US" sz="2800" dirty="0"/>
          </a:p>
          <a:p>
            <a:r>
              <a:rPr lang="en-IN" sz="2800" dirty="0"/>
              <a:t>Wildfire AI Innovator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B2102B5-6FF4-F551-4822-67097FA649BC}"/>
              </a:ext>
            </a:extLst>
          </p:cNvPr>
          <p:cNvSpPr/>
          <p:nvPr/>
        </p:nvSpPr>
        <p:spPr>
          <a:xfrm>
            <a:off x="435448" y="5452572"/>
            <a:ext cx="1338828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453250-0F80-40B3-F2BD-D0163296A2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27" imgH="327" progId="TCLayout.ActiveDocument.1">
                  <p:embed/>
                </p:oleObj>
              </mc:Choice>
              <mc:Fallback>
                <p:oleObj name="think-cell Slide" r:id="rId9" imgW="327" imgH="32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453250-0F80-40B3-F2BD-D0163296A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B6F53B-6B60-8A06-3DB2-CCFEC62675E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0644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27" imgH="327" progId="TCLayout.ActiveDocument.1">
                  <p:embed/>
                </p:oleObj>
              </mc:Choice>
              <mc:Fallback>
                <p:oleObj name="think-cell Slide" r:id="rId9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B6F53B-6B60-8A06-3DB2-CCFEC6267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Picture 4" descr="Image result for jica logo">
            <a:extLst>
              <a:ext uri="{FF2B5EF4-FFF2-40B4-BE49-F238E27FC236}">
                <a16:creationId xmlns:a16="http://schemas.microsoft.com/office/drawing/2014/main" id="{CC6C81BA-90CD-25F0-F218-16EA2D0FCD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6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0972" y="270475"/>
            <a:ext cx="885444" cy="71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Freeform 5">
            <a:extLst>
              <a:ext uri="{FF2B5EF4-FFF2-40B4-BE49-F238E27FC236}">
                <a16:creationId xmlns:a16="http://schemas.microsoft.com/office/drawing/2014/main" id="{ADE7420E-634F-EA5E-0251-865DF5BB85EE}"/>
              </a:ext>
            </a:extLst>
          </p:cNvPr>
          <p:cNvSpPr>
            <a:spLocks noEditPoints="1"/>
          </p:cNvSpPr>
          <p:nvPr/>
        </p:nvSpPr>
        <p:spPr bwMode="auto">
          <a:xfrm>
            <a:off x="10112655" y="509661"/>
            <a:ext cx="1072128" cy="427887"/>
          </a:xfrm>
          <a:custGeom>
            <a:avLst/>
            <a:gdLst>
              <a:gd name="T0" fmla="*/ 395 w 395"/>
              <a:gd name="T1" fmla="*/ 73 h 160"/>
              <a:gd name="T2" fmla="*/ 363 w 395"/>
              <a:gd name="T3" fmla="*/ 67 h 160"/>
              <a:gd name="T4" fmla="*/ 323 w 395"/>
              <a:gd name="T5" fmla="*/ 81 h 160"/>
              <a:gd name="T6" fmla="*/ 361 w 395"/>
              <a:gd name="T7" fmla="*/ 96 h 160"/>
              <a:gd name="T8" fmla="*/ 318 w 395"/>
              <a:gd name="T9" fmla="*/ 130 h 160"/>
              <a:gd name="T10" fmla="*/ 270 w 395"/>
              <a:gd name="T11" fmla="*/ 80 h 160"/>
              <a:gd name="T12" fmla="*/ 318 w 395"/>
              <a:gd name="T13" fmla="*/ 31 h 160"/>
              <a:gd name="T14" fmla="*/ 349 w 395"/>
              <a:gd name="T15" fmla="*/ 41 h 160"/>
              <a:gd name="T16" fmla="*/ 365 w 395"/>
              <a:gd name="T17" fmla="*/ 14 h 160"/>
              <a:gd name="T18" fmla="*/ 319 w 395"/>
              <a:gd name="T19" fmla="*/ 0 h 160"/>
              <a:gd name="T20" fmla="*/ 261 w 395"/>
              <a:gd name="T21" fmla="*/ 23 h 160"/>
              <a:gd name="T22" fmla="*/ 219 w 395"/>
              <a:gd name="T23" fmla="*/ 115 h 160"/>
              <a:gd name="T24" fmla="*/ 184 w 395"/>
              <a:gd name="T25" fmla="*/ 129 h 160"/>
              <a:gd name="T26" fmla="*/ 134 w 395"/>
              <a:gd name="T27" fmla="*/ 80 h 160"/>
              <a:gd name="T28" fmla="*/ 184 w 395"/>
              <a:gd name="T29" fmla="*/ 30 h 160"/>
              <a:gd name="T30" fmla="*/ 214 w 395"/>
              <a:gd name="T31" fmla="*/ 40 h 160"/>
              <a:gd name="T32" fmla="*/ 231 w 395"/>
              <a:gd name="T33" fmla="*/ 14 h 160"/>
              <a:gd name="T34" fmla="*/ 184 w 395"/>
              <a:gd name="T35" fmla="*/ 0 h 160"/>
              <a:gd name="T36" fmla="*/ 118 w 395"/>
              <a:gd name="T37" fmla="*/ 33 h 160"/>
              <a:gd name="T38" fmla="*/ 72 w 395"/>
              <a:gd name="T39" fmla="*/ 3 h 160"/>
              <a:gd name="T40" fmla="*/ 0 w 395"/>
              <a:gd name="T41" fmla="*/ 3 h 160"/>
              <a:gd name="T42" fmla="*/ 0 w 395"/>
              <a:gd name="T43" fmla="*/ 157 h 160"/>
              <a:gd name="T44" fmla="*/ 105 w 395"/>
              <a:gd name="T45" fmla="*/ 150 h 160"/>
              <a:gd name="T46" fmla="*/ 149 w 395"/>
              <a:gd name="T47" fmla="*/ 153 h 160"/>
              <a:gd name="T48" fmla="*/ 222 w 395"/>
              <a:gd name="T49" fmla="*/ 151 h 160"/>
              <a:gd name="T50" fmla="*/ 278 w 395"/>
              <a:gd name="T51" fmla="*/ 151 h 160"/>
              <a:gd name="T52" fmla="*/ 373 w 395"/>
              <a:gd name="T53" fmla="*/ 137 h 160"/>
              <a:gd name="T54" fmla="*/ 33 w 395"/>
              <a:gd name="T55" fmla="*/ 65 h 160"/>
              <a:gd name="T56" fmla="*/ 71 w 395"/>
              <a:gd name="T57" fmla="*/ 32 h 160"/>
              <a:gd name="T58" fmla="*/ 88 w 395"/>
              <a:gd name="T59" fmla="*/ 48 h 160"/>
              <a:gd name="T60" fmla="*/ 71 w 395"/>
              <a:gd name="T61" fmla="*/ 65 h 160"/>
              <a:gd name="T62" fmla="*/ 33 w 395"/>
              <a:gd name="T63" fmla="*/ 65 h 160"/>
              <a:gd name="T64" fmla="*/ 33 w 395"/>
              <a:gd name="T65" fmla="*/ 93 h 160"/>
              <a:gd name="T66" fmla="*/ 92 w 395"/>
              <a:gd name="T67" fmla="*/ 98 h 160"/>
              <a:gd name="T68" fmla="*/ 92 w 395"/>
              <a:gd name="T69" fmla="*/ 123 h 160"/>
              <a:gd name="T70" fmla="*/ 56 w 395"/>
              <a:gd name="T71" fmla="*/ 128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95" h="160">
                <a:moveTo>
                  <a:pt x="395" y="80"/>
                </a:moveTo>
                <a:cubicBezTo>
                  <a:pt x="395" y="78"/>
                  <a:pt x="395" y="75"/>
                  <a:pt x="395" y="73"/>
                </a:cubicBezTo>
                <a:cubicBezTo>
                  <a:pt x="395" y="71"/>
                  <a:pt x="395" y="69"/>
                  <a:pt x="394" y="67"/>
                </a:cubicBezTo>
                <a:cubicBezTo>
                  <a:pt x="363" y="67"/>
                  <a:pt x="363" y="67"/>
                  <a:pt x="363" y="67"/>
                </a:cubicBezTo>
                <a:cubicBezTo>
                  <a:pt x="332" y="67"/>
                  <a:pt x="332" y="67"/>
                  <a:pt x="332" y="67"/>
                </a:cubicBezTo>
                <a:cubicBezTo>
                  <a:pt x="323" y="81"/>
                  <a:pt x="323" y="81"/>
                  <a:pt x="323" y="81"/>
                </a:cubicBezTo>
                <a:cubicBezTo>
                  <a:pt x="313" y="96"/>
                  <a:pt x="313" y="96"/>
                  <a:pt x="313" y="96"/>
                </a:cubicBezTo>
                <a:cubicBezTo>
                  <a:pt x="361" y="96"/>
                  <a:pt x="361" y="96"/>
                  <a:pt x="361" y="96"/>
                </a:cubicBezTo>
                <a:cubicBezTo>
                  <a:pt x="358" y="106"/>
                  <a:pt x="353" y="114"/>
                  <a:pt x="346" y="120"/>
                </a:cubicBezTo>
                <a:cubicBezTo>
                  <a:pt x="338" y="126"/>
                  <a:pt x="329" y="130"/>
                  <a:pt x="318" y="130"/>
                </a:cubicBezTo>
                <a:cubicBezTo>
                  <a:pt x="305" y="130"/>
                  <a:pt x="292" y="124"/>
                  <a:pt x="284" y="115"/>
                </a:cubicBezTo>
                <a:cubicBezTo>
                  <a:pt x="275" y="106"/>
                  <a:pt x="270" y="93"/>
                  <a:pt x="270" y="80"/>
                </a:cubicBezTo>
                <a:cubicBezTo>
                  <a:pt x="270" y="66"/>
                  <a:pt x="275" y="54"/>
                  <a:pt x="284" y="45"/>
                </a:cubicBezTo>
                <a:cubicBezTo>
                  <a:pt x="293" y="36"/>
                  <a:pt x="305" y="31"/>
                  <a:pt x="318" y="31"/>
                </a:cubicBezTo>
                <a:cubicBezTo>
                  <a:pt x="324" y="31"/>
                  <a:pt x="330" y="32"/>
                  <a:pt x="335" y="33"/>
                </a:cubicBezTo>
                <a:cubicBezTo>
                  <a:pt x="340" y="35"/>
                  <a:pt x="345" y="37"/>
                  <a:pt x="349" y="41"/>
                </a:cubicBezTo>
                <a:cubicBezTo>
                  <a:pt x="357" y="27"/>
                  <a:pt x="357" y="27"/>
                  <a:pt x="357" y="27"/>
                </a:cubicBezTo>
                <a:cubicBezTo>
                  <a:pt x="365" y="14"/>
                  <a:pt x="365" y="14"/>
                  <a:pt x="365" y="14"/>
                </a:cubicBezTo>
                <a:cubicBezTo>
                  <a:pt x="359" y="10"/>
                  <a:pt x="352" y="6"/>
                  <a:pt x="344" y="4"/>
                </a:cubicBezTo>
                <a:cubicBezTo>
                  <a:pt x="336" y="1"/>
                  <a:pt x="328" y="0"/>
                  <a:pt x="319" y="0"/>
                </a:cubicBezTo>
                <a:cubicBezTo>
                  <a:pt x="307" y="0"/>
                  <a:pt x="296" y="2"/>
                  <a:pt x="286" y="6"/>
                </a:cubicBezTo>
                <a:cubicBezTo>
                  <a:pt x="277" y="10"/>
                  <a:pt x="268" y="16"/>
                  <a:pt x="261" y="23"/>
                </a:cubicBezTo>
                <a:cubicBezTo>
                  <a:pt x="244" y="40"/>
                  <a:pt x="239" y="57"/>
                  <a:pt x="236" y="73"/>
                </a:cubicBezTo>
                <a:cubicBezTo>
                  <a:pt x="232" y="89"/>
                  <a:pt x="230" y="103"/>
                  <a:pt x="219" y="115"/>
                </a:cubicBezTo>
                <a:cubicBezTo>
                  <a:pt x="214" y="119"/>
                  <a:pt x="209" y="123"/>
                  <a:pt x="203" y="126"/>
                </a:cubicBezTo>
                <a:cubicBezTo>
                  <a:pt x="197" y="128"/>
                  <a:pt x="191" y="129"/>
                  <a:pt x="184" y="129"/>
                </a:cubicBezTo>
                <a:cubicBezTo>
                  <a:pt x="170" y="129"/>
                  <a:pt x="158" y="124"/>
                  <a:pt x="149" y="115"/>
                </a:cubicBezTo>
                <a:cubicBezTo>
                  <a:pt x="140" y="106"/>
                  <a:pt x="134" y="93"/>
                  <a:pt x="134" y="80"/>
                </a:cubicBezTo>
                <a:cubicBezTo>
                  <a:pt x="134" y="67"/>
                  <a:pt x="140" y="54"/>
                  <a:pt x="149" y="45"/>
                </a:cubicBezTo>
                <a:cubicBezTo>
                  <a:pt x="158" y="36"/>
                  <a:pt x="170" y="31"/>
                  <a:pt x="184" y="30"/>
                </a:cubicBezTo>
                <a:cubicBezTo>
                  <a:pt x="190" y="31"/>
                  <a:pt x="195" y="31"/>
                  <a:pt x="200" y="33"/>
                </a:cubicBezTo>
                <a:cubicBezTo>
                  <a:pt x="205" y="35"/>
                  <a:pt x="210" y="37"/>
                  <a:pt x="214" y="40"/>
                </a:cubicBezTo>
                <a:cubicBezTo>
                  <a:pt x="222" y="27"/>
                  <a:pt x="222" y="27"/>
                  <a:pt x="222" y="27"/>
                </a:cubicBezTo>
                <a:cubicBezTo>
                  <a:pt x="231" y="14"/>
                  <a:pt x="231" y="14"/>
                  <a:pt x="231" y="14"/>
                </a:cubicBezTo>
                <a:cubicBezTo>
                  <a:pt x="224" y="9"/>
                  <a:pt x="217" y="6"/>
                  <a:pt x="209" y="3"/>
                </a:cubicBezTo>
                <a:cubicBezTo>
                  <a:pt x="202" y="1"/>
                  <a:pt x="193" y="0"/>
                  <a:pt x="184" y="0"/>
                </a:cubicBezTo>
                <a:cubicBezTo>
                  <a:pt x="170" y="0"/>
                  <a:pt x="157" y="3"/>
                  <a:pt x="146" y="9"/>
                </a:cubicBezTo>
                <a:cubicBezTo>
                  <a:pt x="135" y="15"/>
                  <a:pt x="125" y="23"/>
                  <a:pt x="118" y="33"/>
                </a:cubicBezTo>
                <a:cubicBezTo>
                  <a:pt x="115" y="25"/>
                  <a:pt x="109" y="17"/>
                  <a:pt x="101" y="12"/>
                </a:cubicBezTo>
                <a:cubicBezTo>
                  <a:pt x="93" y="6"/>
                  <a:pt x="83" y="3"/>
                  <a:pt x="72" y="3"/>
                </a:cubicBezTo>
                <a:cubicBezTo>
                  <a:pt x="36" y="3"/>
                  <a:pt x="36" y="3"/>
                  <a:pt x="36" y="3"/>
                </a:cubicBezTo>
                <a:cubicBezTo>
                  <a:pt x="0" y="3"/>
                  <a:pt x="0" y="3"/>
                  <a:pt x="0" y="3"/>
                </a:cubicBezTo>
                <a:cubicBezTo>
                  <a:pt x="0" y="80"/>
                  <a:pt x="0" y="80"/>
                  <a:pt x="0" y="80"/>
                </a:cubicBezTo>
                <a:cubicBezTo>
                  <a:pt x="0" y="157"/>
                  <a:pt x="0" y="157"/>
                  <a:pt x="0" y="157"/>
                </a:cubicBezTo>
                <a:cubicBezTo>
                  <a:pt x="79" y="157"/>
                  <a:pt x="79" y="157"/>
                  <a:pt x="79" y="157"/>
                </a:cubicBezTo>
                <a:cubicBezTo>
                  <a:pt x="89" y="157"/>
                  <a:pt x="98" y="154"/>
                  <a:pt x="105" y="150"/>
                </a:cubicBezTo>
                <a:cubicBezTo>
                  <a:pt x="113" y="146"/>
                  <a:pt x="119" y="140"/>
                  <a:pt x="123" y="133"/>
                </a:cubicBezTo>
                <a:cubicBezTo>
                  <a:pt x="130" y="142"/>
                  <a:pt x="139" y="148"/>
                  <a:pt x="149" y="153"/>
                </a:cubicBezTo>
                <a:cubicBezTo>
                  <a:pt x="159" y="157"/>
                  <a:pt x="171" y="160"/>
                  <a:pt x="183" y="160"/>
                </a:cubicBezTo>
                <a:cubicBezTo>
                  <a:pt x="197" y="160"/>
                  <a:pt x="210" y="157"/>
                  <a:pt x="222" y="151"/>
                </a:cubicBezTo>
                <a:cubicBezTo>
                  <a:pt x="233" y="145"/>
                  <a:pt x="243" y="136"/>
                  <a:pt x="250" y="126"/>
                </a:cubicBezTo>
                <a:cubicBezTo>
                  <a:pt x="257" y="136"/>
                  <a:pt x="267" y="145"/>
                  <a:pt x="278" y="151"/>
                </a:cubicBezTo>
                <a:cubicBezTo>
                  <a:pt x="290" y="157"/>
                  <a:pt x="303" y="160"/>
                  <a:pt x="317" y="160"/>
                </a:cubicBezTo>
                <a:cubicBezTo>
                  <a:pt x="339" y="160"/>
                  <a:pt x="359" y="151"/>
                  <a:pt x="373" y="137"/>
                </a:cubicBezTo>
                <a:cubicBezTo>
                  <a:pt x="387" y="122"/>
                  <a:pt x="395" y="102"/>
                  <a:pt x="395" y="80"/>
                </a:cubicBezTo>
                <a:close/>
                <a:moveTo>
                  <a:pt x="33" y="65"/>
                </a:moveTo>
                <a:cubicBezTo>
                  <a:pt x="33" y="32"/>
                  <a:pt x="33" y="32"/>
                  <a:pt x="33" y="32"/>
                </a:cubicBezTo>
                <a:cubicBezTo>
                  <a:pt x="71" y="32"/>
                  <a:pt x="71" y="32"/>
                  <a:pt x="71" y="32"/>
                </a:cubicBezTo>
                <a:cubicBezTo>
                  <a:pt x="76" y="32"/>
                  <a:pt x="80" y="34"/>
                  <a:pt x="83" y="36"/>
                </a:cubicBezTo>
                <a:cubicBezTo>
                  <a:pt x="86" y="39"/>
                  <a:pt x="88" y="44"/>
                  <a:pt x="88" y="48"/>
                </a:cubicBezTo>
                <a:cubicBezTo>
                  <a:pt x="88" y="53"/>
                  <a:pt x="86" y="57"/>
                  <a:pt x="83" y="60"/>
                </a:cubicBezTo>
                <a:cubicBezTo>
                  <a:pt x="80" y="64"/>
                  <a:pt x="76" y="65"/>
                  <a:pt x="71" y="65"/>
                </a:cubicBezTo>
                <a:cubicBezTo>
                  <a:pt x="52" y="65"/>
                  <a:pt x="52" y="65"/>
                  <a:pt x="52" y="65"/>
                </a:cubicBezTo>
                <a:cubicBezTo>
                  <a:pt x="33" y="65"/>
                  <a:pt x="33" y="65"/>
                  <a:pt x="33" y="65"/>
                </a:cubicBezTo>
                <a:close/>
                <a:moveTo>
                  <a:pt x="33" y="128"/>
                </a:moveTo>
                <a:cubicBezTo>
                  <a:pt x="33" y="93"/>
                  <a:pt x="33" y="93"/>
                  <a:pt x="33" y="93"/>
                </a:cubicBezTo>
                <a:cubicBezTo>
                  <a:pt x="79" y="93"/>
                  <a:pt x="79" y="93"/>
                  <a:pt x="79" y="93"/>
                </a:cubicBezTo>
                <a:cubicBezTo>
                  <a:pt x="84" y="93"/>
                  <a:pt x="88" y="95"/>
                  <a:pt x="92" y="98"/>
                </a:cubicBezTo>
                <a:cubicBezTo>
                  <a:pt x="95" y="101"/>
                  <a:pt x="97" y="106"/>
                  <a:pt x="97" y="111"/>
                </a:cubicBezTo>
                <a:cubicBezTo>
                  <a:pt x="97" y="116"/>
                  <a:pt x="95" y="120"/>
                  <a:pt x="92" y="123"/>
                </a:cubicBezTo>
                <a:cubicBezTo>
                  <a:pt x="88" y="126"/>
                  <a:pt x="84" y="128"/>
                  <a:pt x="79" y="128"/>
                </a:cubicBezTo>
                <a:cubicBezTo>
                  <a:pt x="56" y="128"/>
                  <a:pt x="56" y="128"/>
                  <a:pt x="56" y="128"/>
                </a:cubicBezTo>
                <a:cubicBezTo>
                  <a:pt x="33" y="128"/>
                  <a:pt x="33" y="128"/>
                  <a:pt x="33" y="1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0AB3568-F085-AAC0-EAC5-F47E0EC9B9BE}"/>
              </a:ext>
            </a:extLst>
          </p:cNvPr>
          <p:cNvGrpSpPr/>
          <p:nvPr/>
        </p:nvGrpSpPr>
        <p:grpSpPr>
          <a:xfrm>
            <a:off x="418728" y="326661"/>
            <a:ext cx="2730195" cy="671146"/>
            <a:chOff x="551545" y="326661"/>
            <a:chExt cx="2730195" cy="671146"/>
          </a:xfrm>
        </p:grpSpPr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97C20399-0690-5488-DC48-2E62672CF2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harpenSoften amount="62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545" y="326661"/>
              <a:ext cx="420585" cy="6711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E4B4360-1918-A707-D108-C2BE7D431EB6}"/>
                </a:ext>
              </a:extLst>
            </p:cNvPr>
            <p:cNvGrpSpPr/>
            <p:nvPr/>
          </p:nvGrpSpPr>
          <p:grpSpPr>
            <a:xfrm>
              <a:off x="1104862" y="392010"/>
              <a:ext cx="2176878" cy="540448"/>
              <a:chOff x="1127052" y="381532"/>
              <a:chExt cx="2176878" cy="540448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0DB08FC9-1162-2EE1-5977-AE2963951B0C}"/>
                  </a:ext>
                </a:extLst>
              </p:cNvPr>
              <p:cNvSpPr txBox="1"/>
              <p:nvPr/>
            </p:nvSpPr>
            <p:spPr>
              <a:xfrm>
                <a:off x="1127052" y="381532"/>
                <a:ext cx="2176878" cy="215444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1400" b="1">
                    <a:solidFill>
                      <a:srgbClr val="FFFFFF"/>
                    </a:solidFill>
                  </a:rPr>
                  <a:t>Government of Rajasthan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1021A9E-20EB-53F7-978A-0C95126EC74D}"/>
                  </a:ext>
                </a:extLst>
              </p:cNvPr>
              <p:cNvSpPr txBox="1"/>
              <p:nvPr/>
            </p:nvSpPr>
            <p:spPr>
              <a:xfrm>
                <a:off x="1127052" y="706536"/>
                <a:ext cx="1641475" cy="215444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1400" b="1">
                    <a:solidFill>
                      <a:srgbClr val="FFFFFF"/>
                    </a:solidFill>
                  </a:rPr>
                  <a:t>Forest Department </a:t>
                </a:r>
              </a:p>
            </p:txBody>
          </p:sp>
        </p:grpSp>
      </p:grpSp>
      <p:pic>
        <p:nvPicPr>
          <p:cNvPr id="1032" name="Picture 8" descr="WTI Roadshow Program">
            <a:extLst>
              <a:ext uri="{FF2B5EF4-FFF2-40B4-BE49-F238E27FC236}">
                <a16:creationId xmlns:a16="http://schemas.microsoft.com/office/drawing/2014/main" id="{F66AEBE5-A02A-E851-0BD4-21879FA679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biLevel thresh="25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 contrast="-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338" b="13061"/>
          <a:stretch/>
        </p:blipFill>
        <p:spPr bwMode="auto">
          <a:xfrm>
            <a:off x="3942265" y="394411"/>
            <a:ext cx="1539492" cy="535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CB0C533-EDAC-2975-965A-BCE7BDFAB29B}"/>
              </a:ext>
            </a:extLst>
          </p:cNvPr>
          <p:cNvCxnSpPr/>
          <p:nvPr/>
        </p:nvCxnSpPr>
        <p:spPr>
          <a:xfrm>
            <a:off x="3251169" y="326661"/>
            <a:ext cx="0" cy="671146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763FEFC-0BAA-7FB4-2D84-557B00A55879}"/>
              </a:ext>
            </a:extLst>
          </p:cNvPr>
          <p:cNvCxnSpPr/>
          <p:nvPr/>
        </p:nvCxnSpPr>
        <p:spPr>
          <a:xfrm>
            <a:off x="6172852" y="326661"/>
            <a:ext cx="0" cy="671146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26DB4CF-7AA6-ED78-E80C-4C154B6442F7}"/>
              </a:ext>
            </a:extLst>
          </p:cNvPr>
          <p:cNvCxnSpPr/>
          <p:nvPr/>
        </p:nvCxnSpPr>
        <p:spPr>
          <a:xfrm>
            <a:off x="9094536" y="326661"/>
            <a:ext cx="0" cy="671146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7F94B6B-5551-A787-8E95-5C2FAC9A0F35}"/>
              </a:ext>
            </a:extLst>
          </p:cNvPr>
          <p:cNvCxnSpPr/>
          <p:nvPr/>
        </p:nvCxnSpPr>
        <p:spPr>
          <a:xfrm>
            <a:off x="418728" y="1167729"/>
            <a:ext cx="274320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88F2B1F-2CAA-28DB-387F-4DB8C2EAA598}"/>
              </a:ext>
            </a:extLst>
          </p:cNvPr>
          <p:cNvCxnSpPr>
            <a:cxnSpLocks/>
          </p:cNvCxnSpPr>
          <p:nvPr/>
        </p:nvCxnSpPr>
        <p:spPr>
          <a:xfrm>
            <a:off x="3340411" y="1167729"/>
            <a:ext cx="274320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0622464-FE38-ED0A-4B90-24A76A93BCD5}"/>
              </a:ext>
            </a:extLst>
          </p:cNvPr>
          <p:cNvCxnSpPr>
            <a:cxnSpLocks/>
          </p:cNvCxnSpPr>
          <p:nvPr/>
        </p:nvCxnSpPr>
        <p:spPr>
          <a:xfrm>
            <a:off x="6262094" y="1167729"/>
            <a:ext cx="274320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83AD80A-C2C6-10B2-50C1-7CE77CC3A8B4}"/>
              </a:ext>
            </a:extLst>
          </p:cNvPr>
          <p:cNvCxnSpPr>
            <a:cxnSpLocks/>
          </p:cNvCxnSpPr>
          <p:nvPr/>
        </p:nvCxnSpPr>
        <p:spPr>
          <a:xfrm>
            <a:off x="9183778" y="1167729"/>
            <a:ext cx="274320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520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56A1847C-6495-D716-A923-18B63A27D3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8359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1847C-6495-D716-A923-18B63A27D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hlinkClick r:id="rId9" action="ppaction://hlinksldjump"/>
            <a:extLst>
              <a:ext uri="{FF2B5EF4-FFF2-40B4-BE49-F238E27FC236}">
                <a16:creationId xmlns:a16="http://schemas.microsoft.com/office/drawing/2014/main" id="{8F941976-FC8C-714B-77CD-99B6F06DA4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5674" y="1098684"/>
            <a:ext cx="3342390" cy="37535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</a:pPr>
            <a:endParaRPr lang="en-US" sz="2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3" name="Rectangle 12">
            <a:hlinkClick r:id="rId10" action="ppaction://hlinksldjump"/>
            <a:extLst>
              <a:ext uri="{FF2B5EF4-FFF2-40B4-BE49-F238E27FC236}">
                <a16:creationId xmlns:a16="http://schemas.microsoft.com/office/drawing/2014/main" id="{BB6A90A3-F255-7DE3-AB8E-DC5ED067608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104105" y="142240"/>
            <a:ext cx="7976135" cy="678688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buNone/>
            </a:pPr>
            <a:r>
              <a:rPr lang="en-US" sz="1400" dirty="0">
                <a:solidFill>
                  <a:schemeClr val="tx1"/>
                </a:solidFill>
                <a:effectLst/>
              </a:rPr>
              <a:t>My name is Aryan Singh, a BTech student from Mohanlal Sukhadia University, and I’ve been working </a:t>
            </a:r>
          </a:p>
          <a:p>
            <a:pPr algn="just">
              <a:buNone/>
            </a:pPr>
            <a:r>
              <a:rPr lang="en-US" sz="1400" dirty="0">
                <a:solidFill>
                  <a:schemeClr val="tx1"/>
                </a:solidFill>
                <a:effectLst/>
              </a:rPr>
              <a:t>on this idea as part of the Forest Stack Open Innovation Challenge to help the Rajasthan Forest </a:t>
            </a:r>
          </a:p>
          <a:p>
            <a:pPr algn="just">
              <a:buNone/>
            </a:pPr>
            <a:r>
              <a:rPr lang="en-US" sz="1400" dirty="0">
                <a:solidFill>
                  <a:schemeClr val="tx1"/>
                </a:solidFill>
              </a:rPr>
              <a:t>D</a:t>
            </a:r>
            <a:r>
              <a:rPr lang="en-US" sz="1400" dirty="0">
                <a:solidFill>
                  <a:schemeClr val="tx1"/>
                </a:solidFill>
                <a:effectLst/>
              </a:rPr>
              <a:t>epartment (RFD) tackle wildfires in a smarter, more proactive way.</a:t>
            </a:r>
          </a:p>
          <a:p>
            <a:pPr algn="just">
              <a:buNone/>
            </a:pPr>
            <a:endParaRPr lang="en-US" sz="1400" dirty="0">
              <a:solidFill>
                <a:schemeClr val="tx1"/>
              </a:solidFill>
              <a:effectLst/>
            </a:endParaRP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Imagine being a forest officer in Rajasthan, responsible for protecting 3.29 million hectares of forests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home to </a:t>
            </a:r>
            <a:r>
              <a:rPr lang="en-US" sz="1400" dirty="0" err="1">
                <a:solidFill>
                  <a:schemeClr val="tx1"/>
                </a:solidFill>
                <a:effectLst/>
              </a:rPr>
              <a:t>incred</a:t>
            </a:r>
            <a:r>
              <a:rPr lang="en-US" sz="1400" dirty="0" err="1">
                <a:solidFill>
                  <a:schemeClr val="tx1"/>
                </a:solidFill>
              </a:rPr>
              <a:t>-</a:t>
            </a:r>
            <a:r>
              <a:rPr lang="en-US" sz="1400" dirty="0" err="1">
                <a:solidFill>
                  <a:schemeClr val="tx1"/>
                </a:solidFill>
                <a:effectLst/>
              </a:rPr>
              <a:t>ible</a:t>
            </a:r>
            <a:r>
              <a:rPr lang="en-US" sz="1400" dirty="0">
                <a:solidFill>
                  <a:schemeClr val="tx1"/>
                </a:solidFill>
                <a:effectLst/>
              </a:rPr>
              <a:t> biodiversity, local communities, and over 110.7 million </a:t>
            </a:r>
            <a:r>
              <a:rPr lang="en-US" sz="1400" dirty="0" err="1">
                <a:solidFill>
                  <a:schemeClr val="tx1"/>
                </a:solidFill>
                <a:effectLst/>
              </a:rPr>
              <a:t>tonnes</a:t>
            </a:r>
            <a:r>
              <a:rPr lang="en-US" sz="1400" dirty="0">
                <a:solidFill>
                  <a:schemeClr val="tx1"/>
                </a:solidFill>
                <a:effectLst/>
              </a:rPr>
              <a:t> of carbon stock that’s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crucial for fighting climate change. But every year, wildfires threaten to destroy all of </a:t>
            </a:r>
            <a:r>
              <a:rPr lang="en-US" sz="1400" dirty="0" err="1">
                <a:solidFill>
                  <a:schemeClr val="tx1"/>
                </a:solidFill>
                <a:effectLst/>
              </a:rPr>
              <a:t>that.The</a:t>
            </a:r>
            <a:r>
              <a:rPr lang="en-US" sz="1400" dirty="0">
                <a:solidFill>
                  <a:schemeClr val="tx1"/>
                </a:solidFill>
                <a:effectLst/>
              </a:rPr>
              <a:t> current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methods, like ground surveys and basic weather data, are slow and often can’t keep up with the vast,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remote areas you’re managing. It’s stressful, and you’re always one step Behind </a:t>
            </a:r>
            <a:r>
              <a:rPr lang="en-US" sz="1400" dirty="0">
                <a:solidFill>
                  <a:schemeClr val="tx1"/>
                </a:solidFill>
              </a:rPr>
              <a:t>t</a:t>
            </a:r>
            <a:r>
              <a:rPr lang="en-US" sz="1400" dirty="0">
                <a:solidFill>
                  <a:schemeClr val="tx1"/>
                </a:solidFill>
                <a:effectLst/>
              </a:rPr>
              <a:t>he fires. That’s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Where </a:t>
            </a:r>
            <a:r>
              <a:rPr lang="en-US" sz="1400" dirty="0">
                <a:solidFill>
                  <a:schemeClr val="tx1"/>
                </a:solidFill>
                <a:effectLst/>
              </a:rPr>
              <a:t>my project, </a:t>
            </a:r>
            <a:r>
              <a:rPr lang="en-US" sz="1400" b="1" dirty="0">
                <a:solidFill>
                  <a:schemeClr val="tx1"/>
                </a:solidFill>
                <a:effectLst/>
              </a:rPr>
              <a:t>Wildfire Prediction Using Satellite Imagery</a:t>
            </a:r>
            <a:r>
              <a:rPr lang="en-US" sz="1400" dirty="0">
                <a:solidFill>
                  <a:schemeClr val="tx1"/>
                </a:solidFill>
                <a:effectLst/>
              </a:rPr>
              <a:t>, comes into give RFD officers a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Powerful tool to stay Ahead of the flames.</a:t>
            </a:r>
          </a:p>
          <a:p>
            <a:pPr algn="just"/>
            <a:endParaRPr lang="en-US" sz="1400" dirty="0">
              <a:solidFill>
                <a:schemeClr val="tx1"/>
              </a:solidFill>
            </a:endParaRP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The core idea is simple but impactful: I’m building an open-source platform that uses satellite imagery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from Sentinel-1 and Sentinel-2, combined with weather data, to predict wildfire risks in near real-time.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Here’s how it works. We pull in high-resolution imagery from these satellites—Sentinel-2 gives us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detailed visuals of vegetation health through things like NDVI (a measure of how green and dense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the forest </a:t>
            </a:r>
            <a:r>
              <a:rPr lang="en-US" sz="1400" dirty="0">
                <a:solidFill>
                  <a:schemeClr val="tx1"/>
                </a:solidFill>
              </a:rPr>
              <a:t>is), while Sentinel-1 uses radar to assess moisture levels in the soil &amp; plants, even through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 clouds. Then, I add weather data—like temperature, humidity, and wind—from sources like ERA5 and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NOAA, because these factors play a huge role in fire risk.</a:t>
            </a:r>
          </a:p>
          <a:p>
            <a:pPr algn="just"/>
            <a:endParaRPr lang="en-US" sz="1400" dirty="0">
              <a:solidFill>
                <a:schemeClr val="tx1"/>
              </a:solidFill>
            </a:endParaRP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To make sense of all this data, I use an AI model called CNN-</a:t>
            </a:r>
            <a:r>
              <a:rPr lang="en-US" sz="1400" dirty="0" err="1">
                <a:solidFill>
                  <a:schemeClr val="tx1"/>
                </a:solidFill>
                <a:effectLst/>
              </a:rPr>
              <a:t>LSTM,which</a:t>
            </a:r>
            <a:r>
              <a:rPr lang="en-US" sz="1400" dirty="0">
                <a:solidFill>
                  <a:schemeClr val="tx1"/>
                </a:solidFill>
                <a:effectLst/>
              </a:rPr>
              <a:t> I’ve built using </a:t>
            </a:r>
            <a:r>
              <a:rPr lang="en-US" sz="1400" dirty="0" err="1">
                <a:solidFill>
                  <a:schemeClr val="tx1"/>
                </a:solidFill>
                <a:effectLst/>
              </a:rPr>
              <a:t>PyTorch</a:t>
            </a:r>
            <a:r>
              <a:rPr lang="en-US" sz="1400" dirty="0">
                <a:solidFill>
                  <a:schemeClr val="tx1"/>
                </a:solidFill>
                <a:effectLst/>
              </a:rPr>
              <a:t>. The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C</a:t>
            </a:r>
            <a:r>
              <a:rPr lang="en-US" sz="1400" dirty="0">
                <a:solidFill>
                  <a:schemeClr val="tx1"/>
                </a:solidFill>
                <a:effectLst/>
              </a:rPr>
              <a:t>NN part analyzes the satellite images to spot patterns, like dry patches of forest that might be at risk,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while the LSTM part looks at how weather trends change over time to predict if conditions are getting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riskier. Together, they classify forest areas into High, Moderate, or No Risk zones, with predictions for </a:t>
            </a:r>
          </a:p>
          <a:p>
            <a:pPr algn="just"/>
            <a:endParaRPr lang="en-US" sz="1400" dirty="0">
              <a:solidFill>
                <a:schemeClr val="tx1"/>
              </a:solidFill>
            </a:endParaRP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But the real magic happens when this data reaches the forest officers. I’ve designed a GIS dashboard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using Flask and </a:t>
            </a:r>
            <a:r>
              <a:rPr lang="en-US" sz="1400" dirty="0" err="1">
                <a:solidFill>
                  <a:schemeClr val="tx1"/>
                </a:solidFill>
                <a:effectLst/>
              </a:rPr>
              <a:t>Plotly</a:t>
            </a:r>
            <a:r>
              <a:rPr lang="en-US" sz="1400" dirty="0">
                <a:solidFill>
                  <a:schemeClr val="tx1"/>
                </a:solidFill>
                <a:effectLst/>
              </a:rPr>
              <a:t> that’s super easy to use—you don’t need to be a tech expert. It shows a map of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Rajasthan’s forests with color-coded zones: red for high risk, yellow for moderate, and green for safe.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  <a:effectLst/>
              </a:rPr>
              <a:t>With just a few clicks, officers can zoom into specific areas, see the risk level, and plan their next steps, </a:t>
            </a:r>
          </a:p>
          <a:p>
            <a:pPr algn="just">
              <a:lnSpc>
                <a:spcPct val="110000"/>
              </a:lnSpc>
              <a:spcAft>
                <a:spcPts val="300"/>
              </a:spcAft>
            </a:pPr>
            <a:r>
              <a:rPr lang="en-US" sz="1400" dirty="0">
                <a:solidFill>
                  <a:schemeClr val="tx1"/>
                </a:solidFill>
                <a:effectLst/>
              </a:rPr>
              <a:t>like sending teams to clear dry underbrush or setting up firebreaks. The whole system is open-source, </a:t>
            </a:r>
          </a:p>
          <a:p>
            <a:pPr algn="just">
              <a:lnSpc>
                <a:spcPct val="110000"/>
              </a:lnSpc>
              <a:spcAft>
                <a:spcPts val="300"/>
              </a:spcAft>
            </a:pPr>
            <a:r>
              <a:rPr lang="en-US" sz="1400" dirty="0">
                <a:solidFill>
                  <a:schemeClr val="tx1"/>
                </a:solidFill>
                <a:effectLst/>
              </a:rPr>
              <a:t>built with tools like Python, GDAL, and </a:t>
            </a:r>
            <a:r>
              <a:rPr lang="en-US" sz="1400" dirty="0" err="1">
                <a:solidFill>
                  <a:schemeClr val="tx1"/>
                </a:solidFill>
                <a:effectLst/>
              </a:rPr>
              <a:t>Xarray</a:t>
            </a:r>
            <a:r>
              <a:rPr lang="en-US" sz="1400" dirty="0">
                <a:solidFill>
                  <a:schemeClr val="tx1"/>
                </a:solidFill>
              </a:rPr>
              <a:t>.</a:t>
            </a:r>
            <a:endParaRPr lang="en-US" sz="1400" dirty="0">
              <a:solidFill>
                <a:schemeClr val="tx1"/>
              </a:solidFill>
              <a:effectLst/>
            </a:endParaRPr>
          </a:p>
          <a:p>
            <a:pPr algn="just"/>
            <a:endParaRPr lang="en-US" sz="1400" dirty="0">
              <a:solidFill>
                <a:schemeClr val="tx1"/>
              </a:solidFill>
              <a:effectLst/>
            </a:endParaRPr>
          </a:p>
          <a:p>
            <a:pPr algn="just"/>
            <a:endParaRPr lang="en-US" sz="1400" dirty="0">
              <a:solidFill>
                <a:schemeClr val="tx1"/>
              </a:solidFill>
            </a:endParaRPr>
          </a:p>
          <a:p>
            <a:pPr algn="just"/>
            <a:endParaRPr lang="en-US" sz="1400" dirty="0">
              <a:solidFill>
                <a:schemeClr val="tx1"/>
              </a:solidFill>
              <a:effectLst/>
            </a:endParaRPr>
          </a:p>
          <a:p>
            <a:pPr algn="just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</a:pPr>
            <a:endParaRPr lang="en-US"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87E2A4B-92FC-32C9-DBF2-C9567CEF89C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/>
          <a:lstStyle/>
          <a:p>
            <a:r>
              <a:rPr lang="en-US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8713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hlinkClick r:id="rId6" action="ppaction://hlinksldjump"/>
            <a:extLst>
              <a:ext uri="{FF2B5EF4-FFF2-40B4-BE49-F238E27FC236}">
                <a16:creationId xmlns:a16="http://schemas.microsoft.com/office/drawing/2014/main" id="{9580B907-CA2E-EC5E-5B7C-2BA608ED16A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04720" y="80010"/>
            <a:ext cx="7955200" cy="667639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sz="1400" dirty="0">
                <a:solidFill>
                  <a:schemeClr val="tx1"/>
                </a:solidFill>
              </a:rPr>
              <a:t>Now, let’s talk about the benefits, because this is what really excites me. First, it saves time. Instead of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 waiting for manual surveys to spot risks, RFD’s 285+ officers get real-time updates, so they can act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before a fire even starts. That means fewer forests lost, less harm to wildlife, and safer communities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 nearby. Second, it protects Rajasthan’s 110.7 million </a:t>
            </a:r>
            <a:r>
              <a:rPr lang="en-US" sz="1400" dirty="0" err="1">
                <a:solidFill>
                  <a:schemeClr val="tx1"/>
                </a:solidFill>
              </a:rPr>
              <a:t>tonnes</a:t>
            </a:r>
            <a:r>
              <a:rPr lang="en-US" sz="1400" dirty="0">
                <a:solidFill>
                  <a:schemeClr val="tx1"/>
                </a:solidFill>
              </a:rPr>
              <a:t> of carbon stock—crucial for fighting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climate change—by stopping fires that release all that carbon into the atmosphere. Third, it’s cost-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effective. Since it uses existing satellite data and open-source tools, RFD doesn’t need to spend on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expensive equipment or software licenses.</a:t>
            </a:r>
          </a:p>
          <a:p>
            <a:pPr algn="just"/>
            <a:endParaRPr lang="en-US" sz="1400" dirty="0">
              <a:solidFill>
                <a:schemeClr val="tx1"/>
              </a:solidFill>
            </a:endParaRP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But there’s more. This platform can also help with afforestation. By showing which areas are low-risk,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RFD can plan where to plant new trees, making their efforts more successful. It’s scalable too—if it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works in Rajasthan, we can adapt it for other states or even other forestry tasks, like monitoring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deforestation. During my Flipkart </a:t>
            </a:r>
            <a:r>
              <a:rPr lang="en-US" sz="1400" dirty="0" err="1">
                <a:solidFill>
                  <a:schemeClr val="tx1"/>
                </a:solidFill>
              </a:rPr>
              <a:t>GRiD</a:t>
            </a:r>
            <a:r>
              <a:rPr lang="en-US" sz="1400" dirty="0">
                <a:solidFill>
                  <a:schemeClr val="tx1"/>
                </a:solidFill>
              </a:rPr>
              <a:t> project, I built a system that cut inspection efforts by 40%, </a:t>
            </a:r>
          </a:p>
          <a:p>
            <a:pPr algn="just"/>
            <a:r>
              <a:rPr lang="en-US" sz="1400" dirty="0">
                <a:solidFill>
                  <a:schemeClr val="tx1"/>
                </a:solidFill>
              </a:rPr>
              <a:t>and I’m aiming for a similar impact here—making RFD’s job easier and more effective.</a:t>
            </a:r>
            <a:endParaRPr lang="en-US" sz="1400" dirty="0">
              <a:solidFill>
                <a:schemeClr val="tx1"/>
              </a:solidFill>
              <a:effectLst/>
            </a:endParaRPr>
          </a:p>
        </p:txBody>
      </p:sp>
      <p:sp>
        <p:nvSpPr>
          <p:cNvPr id="13" name="Rectangle 12">
            <a:hlinkClick r:id="rId7" action="ppaction://hlinksldjump"/>
            <a:extLst>
              <a:ext uri="{FF2B5EF4-FFF2-40B4-BE49-F238E27FC236}">
                <a16:creationId xmlns:a16="http://schemas.microsoft.com/office/drawing/2014/main" id="{D1127528-9AC9-BE4F-97D1-2D393CFD7D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66432" y="2958391"/>
            <a:ext cx="3342390" cy="37535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</a:pPr>
            <a:endParaRPr lang="en-US" sz="24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F14672E-F770-4AD6-632E-05F075D9631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0233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4D9535-6CD1-1149-59F1-E298266CAB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3D90A841-6B75-ECC4-C086-F61CD9DF6E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90A841-6B75-ECC4-C086-F61CD9DF6E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8A73949-99D5-8CF1-8E28-2C25F3A4B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deation Round</a:t>
            </a:r>
          </a:p>
        </p:txBody>
      </p:sp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3195FE01-609D-C4C7-3AE8-F869CB3810C9}"/>
              </a:ext>
            </a:extLst>
          </p:cNvPr>
          <p:cNvSpPr/>
          <p:nvPr/>
        </p:nvSpPr>
        <p:spPr>
          <a:xfrm>
            <a:off x="630000" y="1495046"/>
            <a:ext cx="1795700" cy="856566"/>
          </a:xfrm>
          <a:prstGeom prst="round2DiagRect">
            <a:avLst>
              <a:gd name="adj1" fmla="val 1708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FFFFFF"/>
                </a:solidFill>
              </a:rPr>
              <a:t>Problem Statemen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86BCCDA-B0A9-D195-6B9F-B643ED9DCC0E}"/>
              </a:ext>
            </a:extLst>
          </p:cNvPr>
          <p:cNvCxnSpPr/>
          <p:nvPr/>
        </p:nvCxnSpPr>
        <p:spPr>
          <a:xfrm>
            <a:off x="629999" y="2396733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D213CB8F-1CEE-A061-737F-DE8834054A0F}"/>
              </a:ext>
            </a:extLst>
          </p:cNvPr>
          <p:cNvSpPr/>
          <p:nvPr/>
        </p:nvSpPr>
        <p:spPr>
          <a:xfrm>
            <a:off x="630000" y="2441854"/>
            <a:ext cx="1795700" cy="1092916"/>
          </a:xfrm>
          <a:prstGeom prst="round2DiagRect">
            <a:avLst>
              <a:gd name="adj1" fmla="val 13387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IN" sz="1600" b="1">
                <a:solidFill>
                  <a:srgbClr val="FFFFFF"/>
                </a:solidFill>
              </a:rPr>
              <a:t>Solution Overvie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629EBF3-1ADD-5A87-D167-3187C58DE6F3}"/>
              </a:ext>
            </a:extLst>
          </p:cNvPr>
          <p:cNvSpPr txBox="1"/>
          <p:nvPr/>
        </p:nvSpPr>
        <p:spPr>
          <a:xfrm>
            <a:off x="2540000" y="1511688"/>
            <a:ext cx="9023350" cy="83992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effectLst/>
              </a:rPr>
              <a:t>Wildfires threaten Rajasthan’s 3.29 million hectares of forests, risking biodiversity, 110.7 million+ </a:t>
            </a:r>
            <a:r>
              <a:rPr lang="en-US" sz="1400" dirty="0" err="1">
                <a:solidFill>
                  <a:schemeClr val="tx1"/>
                </a:solidFill>
                <a:effectLst/>
              </a:rPr>
              <a:t>tonnes</a:t>
            </a:r>
            <a:r>
              <a:rPr lang="en-US" sz="1400" dirty="0">
                <a:solidFill>
                  <a:schemeClr val="tx1"/>
                </a:solidFill>
                <a:effectLst/>
              </a:rPr>
              <a:t> of carbon stock, and local communities. RFD’s manual surveys and weather-based detection are slow and ineffective in remote areas, delaying prevention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6E5E5EE-5FAC-6C11-B60C-1A33632CFD4D}"/>
              </a:ext>
            </a:extLst>
          </p:cNvPr>
          <p:cNvSpPr txBox="1"/>
          <p:nvPr/>
        </p:nvSpPr>
        <p:spPr>
          <a:xfrm>
            <a:off x="2540000" y="2441854"/>
            <a:ext cx="9023350" cy="9652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effectLst/>
              </a:rPr>
              <a:t>Wildfire Prediction Using Satellite Imagery, is an open-source, AI-powered platform that predicts wildfire risks in Rajasthan’s forests using Sentinel-1/2 imagery and weather data (ERA5, NOAA), processed via GDAL/SNAP. A CNN-LSTM model (</a:t>
            </a:r>
            <a:r>
              <a:rPr lang="en-IN" sz="1400" dirty="0" err="1">
                <a:solidFill>
                  <a:schemeClr val="tx1"/>
                </a:solidFill>
                <a:effectLst/>
              </a:rPr>
              <a:t>PyTorch</a:t>
            </a:r>
            <a:r>
              <a:rPr lang="en-IN" sz="1400" dirty="0">
                <a:solidFill>
                  <a:schemeClr val="tx1"/>
                </a:solidFill>
                <a:effectLst/>
              </a:rPr>
              <a:t>) classifies areas as High, Moderate, or No Risk, visualized on a Flask/</a:t>
            </a:r>
            <a:r>
              <a:rPr lang="en-IN" sz="1400" dirty="0" err="1">
                <a:solidFill>
                  <a:schemeClr val="tx1"/>
                </a:solidFill>
                <a:effectLst/>
              </a:rPr>
              <a:t>Plotly</a:t>
            </a:r>
            <a:r>
              <a:rPr lang="en-IN" sz="1400" dirty="0">
                <a:solidFill>
                  <a:schemeClr val="tx1"/>
                </a:solidFill>
                <a:effectLst/>
              </a:rPr>
              <a:t> GIS dashboard. USPs: Hybrid AI for superior accuracy, open-source affordability, and a user-friendly dashboard requiring no GIS expertise. 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A4998A9-8061-33EF-4DAC-CFA6C1860817}"/>
              </a:ext>
            </a:extLst>
          </p:cNvPr>
          <p:cNvCxnSpPr/>
          <p:nvPr/>
        </p:nvCxnSpPr>
        <p:spPr>
          <a:xfrm>
            <a:off x="629999" y="5389198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Diagonal Corners Rounded 9">
            <a:extLst>
              <a:ext uri="{FF2B5EF4-FFF2-40B4-BE49-F238E27FC236}">
                <a16:creationId xmlns:a16="http://schemas.microsoft.com/office/drawing/2014/main" id="{19F1162D-77E6-382B-7580-5224C065778A}"/>
              </a:ext>
            </a:extLst>
          </p:cNvPr>
          <p:cNvSpPr/>
          <p:nvPr/>
        </p:nvSpPr>
        <p:spPr>
          <a:xfrm>
            <a:off x="630000" y="5432085"/>
            <a:ext cx="1795700" cy="914400"/>
          </a:xfrm>
          <a:prstGeom prst="round2DiagRect">
            <a:avLst>
              <a:gd name="adj1" fmla="val 1600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None/>
            </a:pPr>
            <a:r>
              <a:rPr lang="en-US" sz="1600" b="1">
                <a:solidFill>
                  <a:srgbClr val="FFFFFF"/>
                </a:solidFill>
              </a:rPr>
              <a:t>Dataset/</a:t>
            </a:r>
            <a:br>
              <a:rPr lang="en-US" sz="1600" b="1">
                <a:solidFill>
                  <a:srgbClr val="FFFFFF"/>
                </a:solidFill>
              </a:rPr>
            </a:br>
            <a:r>
              <a:rPr lang="en-US" sz="1600" b="1">
                <a:solidFill>
                  <a:srgbClr val="FFFFFF"/>
                </a:solidFill>
              </a:rPr>
              <a:t>Hardware Requirements</a:t>
            </a:r>
          </a:p>
        </p:txBody>
      </p:sp>
      <p:sp>
        <p:nvSpPr>
          <p:cNvPr id="15" name="Rectangle: Diagonal Corners Rounded 14">
            <a:extLst>
              <a:ext uri="{FF2B5EF4-FFF2-40B4-BE49-F238E27FC236}">
                <a16:creationId xmlns:a16="http://schemas.microsoft.com/office/drawing/2014/main" id="{AB4FED57-4171-A559-035E-C3E5CAE4694C}"/>
              </a:ext>
            </a:extLst>
          </p:cNvPr>
          <p:cNvSpPr/>
          <p:nvPr/>
        </p:nvSpPr>
        <p:spPr>
          <a:xfrm>
            <a:off x="630000" y="3632247"/>
            <a:ext cx="1795700" cy="814146"/>
          </a:xfrm>
          <a:prstGeom prst="round2DiagRect">
            <a:avLst>
              <a:gd name="adj1" fmla="val 1797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EBA"/>
              </a:buClr>
              <a:buNone/>
            </a:pPr>
            <a:r>
              <a:rPr lang="en-IN" sz="1600" b="1">
                <a:solidFill>
                  <a:srgbClr val="FFFFFF"/>
                </a:solidFill>
              </a:rPr>
              <a:t>Innovative Elements</a:t>
            </a:r>
          </a:p>
        </p:txBody>
      </p:sp>
      <p:sp>
        <p:nvSpPr>
          <p:cNvPr id="16" name="Rectangle: Diagonal Corners Rounded 15">
            <a:extLst>
              <a:ext uri="{FF2B5EF4-FFF2-40B4-BE49-F238E27FC236}">
                <a16:creationId xmlns:a16="http://schemas.microsoft.com/office/drawing/2014/main" id="{A56ECDB9-0BB2-33B3-78E1-DEE7ACB6A610}"/>
              </a:ext>
            </a:extLst>
          </p:cNvPr>
          <p:cNvSpPr/>
          <p:nvPr/>
        </p:nvSpPr>
        <p:spPr>
          <a:xfrm>
            <a:off x="630000" y="4532166"/>
            <a:ext cx="1795700" cy="814146"/>
          </a:xfrm>
          <a:prstGeom prst="round2DiagRect">
            <a:avLst>
              <a:gd name="adj1" fmla="val 1797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600" b="1">
                <a:solidFill>
                  <a:srgbClr val="FFFFFF"/>
                </a:solidFill>
              </a:rPr>
              <a:t>Impact Assessment</a:t>
            </a:r>
            <a:endParaRPr lang="en-IN" sz="1600" b="1">
              <a:solidFill>
                <a:srgbClr val="FFFFFF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FB148D-09CB-335C-97F1-FDC64B8FCE72}"/>
              </a:ext>
            </a:extLst>
          </p:cNvPr>
          <p:cNvSpPr txBox="1"/>
          <p:nvPr/>
        </p:nvSpPr>
        <p:spPr>
          <a:xfrm>
            <a:off x="2540000" y="5432085"/>
            <a:ext cx="9023350" cy="9144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Existing (per Appendix): Plantation records (site boundaries, species, dates), LULC data, rainfall, groundwater trends.  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Additional: None required; uses public datasets (Sentinel-1/2 imagery, ERA5/NOAA weather).  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Relies on existing satellite data (Sentinel-1/2); no new hardware needed for collection.  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Processing: Cloud server (AWS/Google Cloud) for data processing and dashboard hosting.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72EA31F-F9E0-D402-6EFD-6BFDB1306A1C}"/>
              </a:ext>
            </a:extLst>
          </p:cNvPr>
          <p:cNvCxnSpPr/>
          <p:nvPr/>
        </p:nvCxnSpPr>
        <p:spPr>
          <a:xfrm>
            <a:off x="629999" y="3589361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99FD0E3-F686-EF52-A8D5-D90E8C346684}"/>
              </a:ext>
            </a:extLst>
          </p:cNvPr>
          <p:cNvCxnSpPr/>
          <p:nvPr/>
        </p:nvCxnSpPr>
        <p:spPr>
          <a:xfrm>
            <a:off x="629999" y="4489280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0B6B7E6-A65B-3C90-B78E-CA1D987B9822}"/>
              </a:ext>
            </a:extLst>
          </p:cNvPr>
          <p:cNvSpPr txBox="1"/>
          <p:nvPr/>
        </p:nvSpPr>
        <p:spPr>
          <a:xfrm>
            <a:off x="2540000" y="3589361"/>
            <a:ext cx="9023350" cy="8570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effectLst/>
              </a:rPr>
              <a:t>My solution stands out with its hybrid CNN-LSTM model, combining spatial (Sentinel-1/2 imagery) and temporal (weather) analysis for precise wildfire prediction. Unlike traditional methods, it offers real-time risk mapping on an open-source, user-friendly GIS dashboard, requiring no GIS expertise—tailored for RFD’s 285+ officers to manage 3.29M hectares efficiently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B41BD10-7735-8270-03B7-94624A8371DE}"/>
              </a:ext>
            </a:extLst>
          </p:cNvPr>
          <p:cNvSpPr txBox="1"/>
          <p:nvPr/>
        </p:nvSpPr>
        <p:spPr>
          <a:xfrm>
            <a:off x="2550160" y="4506388"/>
            <a:ext cx="9023350" cy="83992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effectLst/>
              </a:rPr>
              <a:t>Stakeholders: </a:t>
            </a:r>
            <a:r>
              <a:rPr lang="en-US" sz="1400" dirty="0">
                <a:solidFill>
                  <a:schemeClr val="tx1"/>
                </a:solidFill>
                <a:effectLst/>
              </a:rPr>
              <a:t>RFD (285+ officers), local communities, environmental NGOs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effectLst/>
              </a:rPr>
              <a:t>Type: </a:t>
            </a:r>
            <a:r>
              <a:rPr lang="en-US" sz="1400" dirty="0">
                <a:solidFill>
                  <a:schemeClr val="tx1"/>
                </a:solidFill>
                <a:effectLst/>
              </a:rPr>
              <a:t>Prevents wildfire losses, protects biodiversity, supports afforestation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effectLst/>
              </a:rPr>
              <a:t>Scale: </a:t>
            </a:r>
            <a:r>
              <a:rPr lang="en-US" sz="1400" dirty="0">
                <a:solidFill>
                  <a:schemeClr val="tx1"/>
                </a:solidFill>
                <a:effectLst/>
              </a:rPr>
              <a:t>Covers 3.29M hectares, preserves 110.7M+ </a:t>
            </a:r>
            <a:r>
              <a:rPr lang="en-US" sz="1400" dirty="0" err="1">
                <a:solidFill>
                  <a:schemeClr val="tx1"/>
                </a:solidFill>
                <a:effectLst/>
              </a:rPr>
              <a:t>tonnes</a:t>
            </a:r>
            <a:r>
              <a:rPr lang="en-US" sz="1400" dirty="0">
                <a:solidFill>
                  <a:schemeClr val="tx1"/>
                </a:solidFill>
                <a:effectLst/>
              </a:rPr>
              <a:t> of carbon stock, enhances safety for people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lang="en-US" sz="1400" dirty="0">
              <a:solidFill>
                <a:schemeClr val="tx2"/>
              </a:solidFill>
              <a:effectLst/>
            </a:endParaRP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5" name="IllustrativeStamp">
            <a:extLst>
              <a:ext uri="{FF2B5EF4-FFF2-40B4-BE49-F238E27FC236}">
                <a16:creationId xmlns:a16="http://schemas.microsoft.com/office/drawing/2014/main" id="{F811BC63-7506-1116-6AA6-902AD22446B7}"/>
              </a:ext>
            </a:extLst>
          </p:cNvPr>
          <p:cNvSpPr/>
          <p:nvPr/>
        </p:nvSpPr>
        <p:spPr>
          <a:xfrm>
            <a:off x="9504229" y="310405"/>
            <a:ext cx="1225296" cy="19177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n-US" sz="1200">
                <a:solidFill>
                  <a:schemeClr val="bg1"/>
                </a:solidFill>
              </a:rPr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4098728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48C47-1720-8EBD-6A21-DB9EF4EB75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1EA6A1F-DF7C-5851-5875-F2B21CB32B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A6A1F-DF7C-5851-5875-F2B21CB32B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3AD184-2D23-D021-3453-C48FFD206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r>
              <a:rPr lang="en-US"/>
              <a:t>Team Information &amp; Expertise</a:t>
            </a:r>
          </a:p>
        </p:txBody>
      </p:sp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3C938044-21F9-3698-C7D5-7972F1B528D1}"/>
              </a:ext>
            </a:extLst>
          </p:cNvPr>
          <p:cNvSpPr/>
          <p:nvPr/>
        </p:nvSpPr>
        <p:spPr>
          <a:xfrm>
            <a:off x="630000" y="1495046"/>
            <a:ext cx="1795700" cy="856566"/>
          </a:xfrm>
          <a:prstGeom prst="round2DiagRect">
            <a:avLst>
              <a:gd name="adj1" fmla="val 1708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600" b="1">
                <a:solidFill>
                  <a:srgbClr val="FFFFFF"/>
                </a:solidFill>
              </a:rPr>
              <a:t>Team Name &amp; Members: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3EC7159-D942-78B1-F23B-7C0D41C9AAED}"/>
              </a:ext>
            </a:extLst>
          </p:cNvPr>
          <p:cNvCxnSpPr/>
          <p:nvPr/>
        </p:nvCxnSpPr>
        <p:spPr>
          <a:xfrm>
            <a:off x="629999" y="2396733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64262128-986E-9669-5147-646BF94AD752}"/>
              </a:ext>
            </a:extLst>
          </p:cNvPr>
          <p:cNvSpPr/>
          <p:nvPr/>
        </p:nvSpPr>
        <p:spPr>
          <a:xfrm>
            <a:off x="630000" y="2441854"/>
            <a:ext cx="1795700" cy="965200"/>
          </a:xfrm>
          <a:prstGeom prst="round2DiagRect">
            <a:avLst>
              <a:gd name="adj1" fmla="val 15158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Font typeface="Trebuchet MS" panose="020B0603020202020204" pitchFamily="34" charset="0"/>
            </a:pPr>
            <a:r>
              <a:rPr lang="en-US" sz="1600" b="1">
                <a:solidFill>
                  <a:srgbClr val="FFFFFF"/>
                </a:solidFill>
              </a:rPr>
              <a:t>Primary</a:t>
            </a:r>
            <a:br>
              <a:rPr lang="en-US" sz="1600" b="1">
                <a:solidFill>
                  <a:srgbClr val="FFFFFF"/>
                </a:solidFill>
              </a:rPr>
            </a:br>
            <a:r>
              <a:rPr lang="en-US" sz="1600" b="1">
                <a:solidFill>
                  <a:srgbClr val="FFFFFF"/>
                </a:solidFill>
              </a:rPr>
              <a:t>Contact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111796-DE99-E5DF-3D94-641688C5CC1A}"/>
              </a:ext>
            </a:extLst>
          </p:cNvPr>
          <p:cNvSpPr txBox="1"/>
          <p:nvPr/>
        </p:nvSpPr>
        <p:spPr>
          <a:xfrm>
            <a:off x="2540000" y="1495046"/>
            <a:ext cx="9023350" cy="8565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</a:rPr>
              <a:t>Aryan Singh, </a:t>
            </a:r>
            <a:r>
              <a:rPr lang="en-IN" sz="1400" dirty="0" err="1">
                <a:solidFill>
                  <a:schemeClr val="tx1"/>
                </a:solidFill>
              </a:rPr>
              <a:t>B.Tech</a:t>
            </a:r>
            <a:r>
              <a:rPr lang="en-IN" sz="1400" dirty="0">
                <a:solidFill>
                  <a:schemeClr val="tx1"/>
                </a:solidFill>
              </a:rPr>
              <a:t> in Computer Science (Mohanlal Sukhadia University, CGPA 8.0), specializing in AI, Python, and satellite data processing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9719F70-32D5-AD51-8DB6-ACB2B733BE97}"/>
              </a:ext>
            </a:extLst>
          </p:cNvPr>
          <p:cNvSpPr txBox="1"/>
          <p:nvPr/>
        </p:nvSpPr>
        <p:spPr>
          <a:xfrm>
            <a:off x="2540000" y="2441854"/>
            <a:ext cx="9023350" cy="9652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tx1"/>
                </a:solidFill>
              </a:rPr>
              <a:t>Aryan Singh, aryansingh4653@gmail.com, +91-8955424401</a:t>
            </a:r>
          </a:p>
        </p:txBody>
      </p:sp>
      <p:sp>
        <p:nvSpPr>
          <p:cNvPr id="15" name="Rectangle: Diagonal Corners Rounded 14">
            <a:extLst>
              <a:ext uri="{FF2B5EF4-FFF2-40B4-BE49-F238E27FC236}">
                <a16:creationId xmlns:a16="http://schemas.microsoft.com/office/drawing/2014/main" id="{694AFB97-ED6C-804F-83BD-38CAF5E94638}"/>
              </a:ext>
            </a:extLst>
          </p:cNvPr>
          <p:cNvSpPr/>
          <p:nvPr/>
        </p:nvSpPr>
        <p:spPr>
          <a:xfrm>
            <a:off x="630000" y="3497296"/>
            <a:ext cx="1795700" cy="856566"/>
          </a:xfrm>
          <a:prstGeom prst="round2DiagRect">
            <a:avLst>
              <a:gd name="adj1" fmla="val 1708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EBA"/>
              </a:buClr>
              <a:buNone/>
            </a:pPr>
            <a:r>
              <a:rPr lang="en-US" sz="1600" b="1">
                <a:solidFill>
                  <a:srgbClr val="FFFFFF"/>
                </a:solidFill>
              </a:rPr>
              <a:t>Institution/ Organization</a:t>
            </a:r>
            <a:endParaRPr lang="en-IN" sz="1600" b="1">
              <a:solidFill>
                <a:srgbClr val="FFFFFF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37DAE3D-B9F8-4F37-BA4C-C827DADB88A6}"/>
              </a:ext>
            </a:extLst>
          </p:cNvPr>
          <p:cNvCxnSpPr/>
          <p:nvPr/>
        </p:nvCxnSpPr>
        <p:spPr>
          <a:xfrm>
            <a:off x="629999" y="3452175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3293FA2-A2FA-D227-F486-B9E43EAD9175}"/>
              </a:ext>
            </a:extLst>
          </p:cNvPr>
          <p:cNvSpPr txBox="1"/>
          <p:nvPr/>
        </p:nvSpPr>
        <p:spPr>
          <a:xfrm>
            <a:off x="2540000" y="3497296"/>
            <a:ext cx="9023350" cy="8565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</a:rPr>
              <a:t>Individual Applicant (Student)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IllustrativeStamp">
            <a:extLst>
              <a:ext uri="{FF2B5EF4-FFF2-40B4-BE49-F238E27FC236}">
                <a16:creationId xmlns:a16="http://schemas.microsoft.com/office/drawing/2014/main" id="{40AF9DB1-E176-F394-3AEB-ABB43CC64DAA}"/>
              </a:ext>
            </a:extLst>
          </p:cNvPr>
          <p:cNvSpPr/>
          <p:nvPr/>
        </p:nvSpPr>
        <p:spPr>
          <a:xfrm>
            <a:off x="9504229" y="310405"/>
            <a:ext cx="1225296" cy="19177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n-US" sz="1200">
                <a:solidFill>
                  <a:schemeClr val="bg1"/>
                </a:solidFill>
              </a:rPr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913410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B01EB4-C407-5D58-7454-CAB7240EE7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AE50212-6A54-08F4-E6DC-EACFDD5C6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5220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E50212-6A54-08F4-E6DC-EACFDD5C6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F97C50-5E03-7225-D4B6-2D085768C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deation Round</a:t>
            </a:r>
          </a:p>
        </p:txBody>
      </p:sp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6304A201-D062-DD62-EE22-A554F9B407F5}"/>
              </a:ext>
            </a:extLst>
          </p:cNvPr>
          <p:cNvSpPr/>
          <p:nvPr/>
        </p:nvSpPr>
        <p:spPr>
          <a:xfrm>
            <a:off x="630000" y="1180721"/>
            <a:ext cx="1795700" cy="1169551"/>
          </a:xfrm>
          <a:prstGeom prst="round2DiagRect">
            <a:avLst>
              <a:gd name="adj1" fmla="val 12509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FFFFFF"/>
                </a:solidFill>
              </a:rPr>
              <a:t>Problem Statemen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CD0EDF7-BDAC-B725-BB16-6C927E45629A}"/>
              </a:ext>
            </a:extLst>
          </p:cNvPr>
          <p:cNvCxnSpPr/>
          <p:nvPr/>
        </p:nvCxnSpPr>
        <p:spPr>
          <a:xfrm>
            <a:off x="629999" y="2414808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F04DCFC6-C428-750A-1B98-F9DEF0840472}"/>
              </a:ext>
            </a:extLst>
          </p:cNvPr>
          <p:cNvSpPr/>
          <p:nvPr/>
        </p:nvSpPr>
        <p:spPr>
          <a:xfrm>
            <a:off x="630000" y="2479344"/>
            <a:ext cx="1795700" cy="1384995"/>
          </a:xfrm>
          <a:prstGeom prst="round2DiagRect">
            <a:avLst>
              <a:gd name="adj1" fmla="val 10564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IN" sz="1600" b="1">
                <a:solidFill>
                  <a:srgbClr val="FFFFFF"/>
                </a:solidFill>
              </a:rPr>
              <a:t>Solution Overvie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78E07D1-4C92-24EA-C848-C7EC8A2FFBB1}"/>
              </a:ext>
            </a:extLst>
          </p:cNvPr>
          <p:cNvSpPr txBox="1"/>
          <p:nvPr/>
        </p:nvSpPr>
        <p:spPr>
          <a:xfrm>
            <a:off x="2540000" y="1180721"/>
            <a:ext cx="9023350" cy="116955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dirty="0">
                <a:solidFill>
                  <a:schemeClr val="tx1"/>
                </a:solidFill>
                <a:effectLst/>
              </a:rPr>
              <a:t>My project, Wildfire Prediction Using Satellite Imagery, uses Sentinel-1/2 data and AI (CNN-LSTM) to monitor vegetation density in near real-time, providing RFD with a GIS dashboard for timely, data-driven conservation decisions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DE8752E-59CD-BE6D-0893-BC3E46F6B0E9}"/>
              </a:ext>
            </a:extLst>
          </p:cNvPr>
          <p:cNvSpPr txBox="1"/>
          <p:nvPr/>
        </p:nvSpPr>
        <p:spPr>
          <a:xfrm>
            <a:off x="2540000" y="2479344"/>
            <a:ext cx="9023350" cy="138499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he solution is a forest planning and monitoring application that integrates NASA/ISRO remote-sensing data (NDVI, Forest Cover, Canopy Density), open-source data (groundwater trends, depth, soil moisture, rainfall), and RFD’s data (plantation records, site info) into a unified digital interface for efficient management.</a:t>
            </a:r>
          </a:p>
        </p:txBody>
      </p:sp>
      <p:sp>
        <p:nvSpPr>
          <p:cNvPr id="16" name="Rectangle: Diagonal Corners Rounded 15">
            <a:extLst>
              <a:ext uri="{FF2B5EF4-FFF2-40B4-BE49-F238E27FC236}">
                <a16:creationId xmlns:a16="http://schemas.microsoft.com/office/drawing/2014/main" id="{F3DB0212-67E7-5E09-8A15-045422A0BD1E}"/>
              </a:ext>
            </a:extLst>
          </p:cNvPr>
          <p:cNvSpPr/>
          <p:nvPr/>
        </p:nvSpPr>
        <p:spPr>
          <a:xfrm>
            <a:off x="630000" y="3993411"/>
            <a:ext cx="1795700" cy="1014891"/>
          </a:xfrm>
          <a:prstGeom prst="round2DiagRect">
            <a:avLst>
              <a:gd name="adj1" fmla="val 14416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IN" sz="1600" b="1">
                <a:solidFill>
                  <a:srgbClr val="FFFFFF"/>
                </a:solidFill>
              </a:rPr>
              <a:t>Broad Features Includ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DA9A29E-1335-26F2-3309-22D2CDFB24E8}"/>
              </a:ext>
            </a:extLst>
          </p:cNvPr>
          <p:cNvCxnSpPr/>
          <p:nvPr/>
        </p:nvCxnSpPr>
        <p:spPr>
          <a:xfrm>
            <a:off x="629999" y="5085030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Diagonal Corners Rounded 9">
            <a:extLst>
              <a:ext uri="{FF2B5EF4-FFF2-40B4-BE49-F238E27FC236}">
                <a16:creationId xmlns:a16="http://schemas.microsoft.com/office/drawing/2014/main" id="{911722BA-BCA2-4648-CEAD-BC575FF3A0A1}"/>
              </a:ext>
            </a:extLst>
          </p:cNvPr>
          <p:cNvSpPr/>
          <p:nvPr/>
        </p:nvSpPr>
        <p:spPr>
          <a:xfrm>
            <a:off x="630000" y="5161759"/>
            <a:ext cx="1795700" cy="746203"/>
          </a:xfrm>
          <a:prstGeom prst="round2DiagRect">
            <a:avLst>
              <a:gd name="adj1" fmla="val 19606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None/>
            </a:pPr>
            <a:r>
              <a:rPr lang="en-IN" sz="1600" b="1">
                <a:solidFill>
                  <a:srgbClr val="FFFFFF"/>
                </a:solidFill>
              </a:rPr>
              <a:t>Intended Users</a:t>
            </a:r>
            <a:endParaRPr lang="en-US" sz="1600" b="1">
              <a:solidFill>
                <a:srgbClr val="FFFFFF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501CB92-7096-D224-FDFC-ACA837285A66}"/>
              </a:ext>
            </a:extLst>
          </p:cNvPr>
          <p:cNvSpPr txBox="1"/>
          <p:nvPr/>
        </p:nvSpPr>
        <p:spPr>
          <a:xfrm>
            <a:off x="2540000" y="5161759"/>
            <a:ext cx="9166224" cy="74620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effectLst/>
              </a:rPr>
              <a:t>The satellite-based system predicts wildfires, reduces manual surveys, empowers forest management, and provides scalable technology.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E9B20B-1916-FDAD-F054-F7B4F93FA91E}"/>
              </a:ext>
            </a:extLst>
          </p:cNvPr>
          <p:cNvCxnSpPr/>
          <p:nvPr/>
        </p:nvCxnSpPr>
        <p:spPr>
          <a:xfrm>
            <a:off x="629999" y="3928875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4C6E573D-5E0F-B074-797E-F910CE021864}"/>
              </a:ext>
            </a:extLst>
          </p:cNvPr>
          <p:cNvSpPr txBox="1"/>
          <p:nvPr/>
        </p:nvSpPr>
        <p:spPr>
          <a:xfrm>
            <a:off x="2539999" y="3905429"/>
            <a:ext cx="9166225" cy="101489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 dirty="0">
                <a:solidFill>
                  <a:schemeClr val="tx2">
                    <a:lumMod val="75000"/>
                  </a:schemeClr>
                </a:solidFill>
              </a:rPr>
              <a:t>Creating BI tools</a:t>
            </a:r>
            <a:r>
              <a:rPr lang="en-IN" sz="1400" b="1" dirty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  <a:effectLst/>
              </a:rPr>
              <a:t>Develop tools to calculate NDVI, Canopy Density, and Forest Cover using Sentinel-1/2 satellite imagery.</a:t>
            </a:r>
            <a:endParaRPr lang="en-IN" sz="1400" dirty="0">
              <a:solidFill>
                <a:schemeClr val="tx1"/>
              </a:solidFill>
            </a:endParaRP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 dirty="0">
                <a:solidFill>
                  <a:schemeClr val="tx2">
                    <a:lumMod val="75000"/>
                  </a:schemeClr>
                </a:solidFill>
              </a:rPr>
              <a:t>Automating</a:t>
            </a:r>
            <a:r>
              <a:rPr lang="en-IN" sz="1400" dirty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  <a:effectLst/>
              </a:rPr>
              <a:t>Streamline ingestion of satellite imagery and open-source data (e.g., ERA5, NOAA)</a:t>
            </a:r>
            <a:r>
              <a:rPr lang="en-IN" sz="1400" dirty="0">
                <a:solidFill>
                  <a:schemeClr val="tx1"/>
                </a:solidFill>
              </a:rPr>
              <a:t>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 dirty="0">
                <a:solidFill>
                  <a:schemeClr val="tx2">
                    <a:lumMod val="75000"/>
                  </a:schemeClr>
                </a:solidFill>
              </a:rPr>
              <a:t>Growth Analysis</a:t>
            </a:r>
            <a:r>
              <a:rPr lang="en-IN" sz="1400" b="1" dirty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  <a:effectLst/>
              </a:rPr>
              <a:t>Identify healthy vs. underperforming plantation blocks using AI-driven insights</a:t>
            </a:r>
            <a:endParaRPr lang="en-IN" sz="1400" b="1" dirty="0">
              <a:solidFill>
                <a:schemeClr val="tx2">
                  <a:lumMod val="75000"/>
                </a:schemeClr>
              </a:solidFill>
            </a:endParaRP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 dirty="0">
                <a:solidFill>
                  <a:schemeClr val="tx2">
                    <a:lumMod val="75000"/>
                  </a:schemeClr>
                </a:solidFill>
              </a:rPr>
              <a:t>Mapping site-suitability</a:t>
            </a:r>
            <a:r>
              <a:rPr lang="en-IN" sz="1400" b="1" dirty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  <a:effectLst/>
              </a:rPr>
              <a:t>Map areas for afforestation, considering environmental and soil conditions.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35" name="IllustrativeStamp">
            <a:extLst>
              <a:ext uri="{FF2B5EF4-FFF2-40B4-BE49-F238E27FC236}">
                <a16:creationId xmlns:a16="http://schemas.microsoft.com/office/drawing/2014/main" id="{209FF089-97E2-F269-F497-2A288A5D085E}"/>
              </a:ext>
            </a:extLst>
          </p:cNvPr>
          <p:cNvSpPr/>
          <p:nvPr/>
        </p:nvSpPr>
        <p:spPr>
          <a:xfrm>
            <a:off x="9504228" y="310405"/>
            <a:ext cx="1770323" cy="23823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n-US" sz="1200">
                <a:solidFill>
                  <a:schemeClr val="bg1"/>
                </a:solidFill>
              </a:rPr>
              <a:t>Exemplar for submission</a:t>
            </a:r>
          </a:p>
        </p:txBody>
      </p:sp>
    </p:spTree>
    <p:extLst>
      <p:ext uri="{BB962C8B-B14F-4D97-AF65-F5344CB8AC3E}">
        <p14:creationId xmlns:p14="http://schemas.microsoft.com/office/powerpoint/2010/main" val="3567290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49DA19-2B45-B3AA-E442-DBE74D062B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C1AFC41A-CEC2-CEE1-BE63-42EDD0EE47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AFC41A-CEC2-CEE1-BE63-42EDD0EE4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6D7CC8-78A6-0075-0EA3-60D46D291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deation Round</a:t>
            </a:r>
          </a:p>
        </p:txBody>
      </p:sp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939811EC-F32E-634F-5C88-F807ABEA337A}"/>
              </a:ext>
            </a:extLst>
          </p:cNvPr>
          <p:cNvSpPr/>
          <p:nvPr/>
        </p:nvSpPr>
        <p:spPr>
          <a:xfrm>
            <a:off x="630000" y="1495046"/>
            <a:ext cx="1795700" cy="1345211"/>
          </a:xfrm>
          <a:prstGeom prst="round2DiagRect">
            <a:avLst>
              <a:gd name="adj1" fmla="val 10876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IN" sz="1600" b="1">
                <a:solidFill>
                  <a:srgbClr val="FFFFFF"/>
                </a:solidFill>
              </a:rPr>
              <a:t>Technology: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3FAC2AD-DF25-7332-897F-38418390803C}"/>
              </a:ext>
            </a:extLst>
          </p:cNvPr>
          <p:cNvCxnSpPr/>
          <p:nvPr/>
        </p:nvCxnSpPr>
        <p:spPr>
          <a:xfrm>
            <a:off x="629999" y="2914486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3964B381-F064-BE4D-5C5C-4261B56D0390}"/>
              </a:ext>
            </a:extLst>
          </p:cNvPr>
          <p:cNvSpPr/>
          <p:nvPr/>
        </p:nvSpPr>
        <p:spPr>
          <a:xfrm>
            <a:off x="630000" y="2988715"/>
            <a:ext cx="1795700" cy="1593013"/>
          </a:xfrm>
          <a:prstGeom prst="round2DiagRect">
            <a:avLst>
              <a:gd name="adj1" fmla="val 9184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IN" sz="1600" b="1">
                <a:solidFill>
                  <a:srgbClr val="FFFFFF"/>
                </a:solidFill>
              </a:rPr>
              <a:t>Innovative Elemen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7DBFB5-07B6-6E51-12E5-67896EDB5573}"/>
              </a:ext>
            </a:extLst>
          </p:cNvPr>
          <p:cNvSpPr txBox="1"/>
          <p:nvPr/>
        </p:nvSpPr>
        <p:spPr>
          <a:xfrm>
            <a:off x="2540000" y="1495046"/>
            <a:ext cx="9023350" cy="13452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r>
              <a:rPr lang="en-IN" sz="1400" dirty="0">
                <a:solidFill>
                  <a:schemeClr val="tx1"/>
                </a:solidFill>
                <a:effectLst/>
              </a:rPr>
              <a:t>Leveraging satellite imagery and open-source data, wildfire prediction is powered by Airflow-driven data pipelines that fetch and process real-time forest health data, computing metrics like NDVI, canopy density, and forest cover. Results are stored in a PostgreSQL/</a:t>
            </a:r>
            <a:r>
              <a:rPr lang="en-IN" sz="1400" dirty="0" err="1">
                <a:solidFill>
                  <a:schemeClr val="tx1"/>
                </a:solidFill>
                <a:effectLst/>
              </a:rPr>
              <a:t>PostGIS</a:t>
            </a:r>
            <a:r>
              <a:rPr lang="en-IN" sz="1400" dirty="0">
                <a:solidFill>
                  <a:schemeClr val="tx1"/>
                </a:solidFill>
                <a:effectLst/>
              </a:rPr>
              <a:t> database for fast geospatial queries. A Vue/React-based dashboard visualizes color-coded vegetation indices, while basic user management enables RFD staff to log in, upload/view site info, and run NDVI analyses securely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E8C563-E12C-82C5-E6F3-C19FA7A825EF}"/>
              </a:ext>
            </a:extLst>
          </p:cNvPr>
          <p:cNvSpPr txBox="1"/>
          <p:nvPr/>
        </p:nvSpPr>
        <p:spPr>
          <a:xfrm>
            <a:off x="2540000" y="2988715"/>
            <a:ext cx="9023350" cy="159301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 dirty="0">
                <a:solidFill>
                  <a:schemeClr val="tx2">
                    <a:lumMod val="50000"/>
                  </a:schemeClr>
                </a:solidFill>
                <a:effectLst/>
              </a:rPr>
              <a:t>Satellite-driven monitoring</a:t>
            </a:r>
            <a:r>
              <a:rPr lang="en-IN" sz="1400" b="1" dirty="0">
                <a:solidFill>
                  <a:schemeClr val="tx2"/>
                </a:solidFill>
              </a:rPr>
              <a:t>:</a:t>
            </a:r>
            <a:r>
              <a:rPr lang="en-IN" sz="1400" b="1" dirty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  <a:effectLst/>
              </a:rPr>
              <a:t>Real-time NDVI, canopy, density, and forest cover calculations to pinpoint high-risk zones.</a:t>
            </a:r>
            <a:endParaRPr lang="en-IN" sz="1400" dirty="0">
              <a:solidFill>
                <a:schemeClr val="tx1"/>
              </a:solidFill>
            </a:endParaRP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 dirty="0">
                <a:solidFill>
                  <a:schemeClr val="tx2">
                    <a:lumMod val="75000"/>
                  </a:schemeClr>
                </a:solidFill>
              </a:rPr>
              <a:t>User-Friendly Geo-Dashboard</a:t>
            </a:r>
            <a:r>
              <a:rPr lang="en-IN" sz="1400" b="1" dirty="0">
                <a:solidFill>
                  <a:schemeClr val="tx2"/>
                </a:solidFill>
              </a:rPr>
              <a:t>:</a:t>
            </a:r>
            <a:r>
              <a:rPr lang="en-US" sz="1400" dirty="0">
                <a:solidFill>
                  <a:schemeClr val="tx1"/>
                </a:solidFill>
                <a:effectLst/>
              </a:rPr>
              <a:t>Simplifies data visualization for staff with minimal training.</a:t>
            </a:r>
            <a:endParaRPr lang="en-IN" sz="1400" dirty="0">
              <a:solidFill>
                <a:schemeClr val="tx1"/>
              </a:solidFill>
            </a:endParaRP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 dirty="0">
                <a:solidFill>
                  <a:schemeClr val="tx2">
                    <a:lumMod val="50000"/>
                  </a:schemeClr>
                </a:solidFill>
                <a:effectLst/>
              </a:rPr>
              <a:t>Data-driven resource allocation</a:t>
            </a:r>
            <a:r>
              <a:rPr lang="en-IN" sz="1400" b="1" dirty="0">
                <a:solidFill>
                  <a:schemeClr val="tx2">
                    <a:lumMod val="50000"/>
                  </a:schemeClr>
                </a:solidFill>
              </a:rPr>
              <a:t>: </a:t>
            </a:r>
            <a:r>
              <a:rPr lang="en-US" sz="1400" dirty="0">
                <a:solidFill>
                  <a:schemeClr val="tx1"/>
                </a:solidFill>
                <a:effectLst/>
              </a:rPr>
              <a:t>Enhances wildfire prediction and management through actionable insights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6" name="Rectangle: Diagonal Corners Rounded 15">
            <a:extLst>
              <a:ext uri="{FF2B5EF4-FFF2-40B4-BE49-F238E27FC236}">
                <a16:creationId xmlns:a16="http://schemas.microsoft.com/office/drawing/2014/main" id="{E0EDD7BB-85D4-74D2-41D0-920D8E1BC84C}"/>
              </a:ext>
            </a:extLst>
          </p:cNvPr>
          <p:cNvSpPr/>
          <p:nvPr/>
        </p:nvSpPr>
        <p:spPr>
          <a:xfrm>
            <a:off x="630000" y="4730186"/>
            <a:ext cx="1795700" cy="1097408"/>
          </a:xfrm>
          <a:prstGeom prst="round2DiagRect">
            <a:avLst>
              <a:gd name="adj1" fmla="val 13332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600" b="1">
                <a:solidFill>
                  <a:srgbClr val="FFFFFF"/>
                </a:solidFill>
              </a:rPr>
              <a:t>Impact Assessment</a:t>
            </a:r>
            <a:endParaRPr lang="en-IN" sz="1600" b="1">
              <a:solidFill>
                <a:srgbClr val="FFFFFF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D9B8E83-A624-9105-2522-6CD068357472}"/>
              </a:ext>
            </a:extLst>
          </p:cNvPr>
          <p:cNvCxnSpPr/>
          <p:nvPr/>
        </p:nvCxnSpPr>
        <p:spPr>
          <a:xfrm>
            <a:off x="629999" y="4655957"/>
            <a:ext cx="1093335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6F88A4E6-4686-9B7D-A23C-CEE7F51E3AAF}"/>
              </a:ext>
            </a:extLst>
          </p:cNvPr>
          <p:cNvSpPr txBox="1"/>
          <p:nvPr/>
        </p:nvSpPr>
        <p:spPr>
          <a:xfrm>
            <a:off x="2540000" y="4730186"/>
            <a:ext cx="9023350" cy="109740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Enables timely, data-driven decisions by reducing manual surveys—digitally monitoring 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</a:rPr>
              <a:t>3.29Mn hectares of land </a:t>
            </a:r>
            <a:r>
              <a:rPr lang="en-US" sz="1400" dirty="0">
                <a:solidFill>
                  <a:schemeClr val="tx1"/>
                </a:solidFill>
              </a:rPr>
              <a:t>and 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</a:rPr>
              <a:t>110.7Mn+ </a:t>
            </a:r>
            <a:r>
              <a:rPr lang="en-US" sz="1400" b="1" dirty="0" err="1">
                <a:solidFill>
                  <a:schemeClr val="tx2">
                    <a:lumMod val="75000"/>
                  </a:schemeClr>
                </a:solidFill>
              </a:rPr>
              <a:t>tonnes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</a:rPr>
              <a:t> of carbon stock</a:t>
            </a:r>
            <a:r>
              <a:rPr lang="en-US" sz="1400" dirty="0">
                <a:solidFill>
                  <a:schemeClr val="tx1"/>
                </a:solidFill>
              </a:rPr>
              <a:t>, while empowering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</a:rPr>
              <a:t> 285+ forest officers</a:t>
            </a:r>
            <a:r>
              <a:rPr lang="en-US" sz="1400" dirty="0">
                <a:solidFill>
                  <a:schemeClr val="tx1"/>
                </a:solidFill>
              </a:rPr>
              <a:t>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Uses 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</a:rPr>
              <a:t>scalable tech components </a:t>
            </a:r>
            <a:r>
              <a:rPr lang="en-US" sz="1400" dirty="0">
                <a:solidFill>
                  <a:schemeClr val="tx1"/>
                </a:solidFill>
              </a:rPr>
              <a:t>like 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</a:rPr>
              <a:t>satellite data pipelines</a:t>
            </a:r>
            <a:r>
              <a:rPr lang="en-US" sz="1400" dirty="0">
                <a:solidFill>
                  <a:schemeClr val="tx1"/>
                </a:solidFill>
              </a:rPr>
              <a:t>, 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</a:rPr>
              <a:t>vegetation health analysis</a:t>
            </a:r>
            <a:r>
              <a:rPr lang="en-US" sz="1400" dirty="0">
                <a:solidFill>
                  <a:schemeClr val="tx1"/>
                </a:solidFill>
              </a:rPr>
              <a:t>, and 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</a:rPr>
              <a:t>BI tools</a:t>
            </a:r>
            <a:r>
              <a:rPr lang="en-US" sz="1400" dirty="0">
                <a:solidFill>
                  <a:schemeClr val="tx1"/>
                </a:solidFill>
              </a:rPr>
              <a:t>, which can be repurposed for other regions, agroforestry, or land management programs.</a:t>
            </a: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7" name="IllustrativeStamp">
            <a:extLst>
              <a:ext uri="{FF2B5EF4-FFF2-40B4-BE49-F238E27FC236}">
                <a16:creationId xmlns:a16="http://schemas.microsoft.com/office/drawing/2014/main" id="{397A8EDC-3B30-A71B-57DD-0070A24D4B17}"/>
              </a:ext>
            </a:extLst>
          </p:cNvPr>
          <p:cNvSpPr/>
          <p:nvPr/>
        </p:nvSpPr>
        <p:spPr>
          <a:xfrm>
            <a:off x="9504228" y="310405"/>
            <a:ext cx="1770323" cy="23823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n-US" sz="1200">
                <a:solidFill>
                  <a:schemeClr val="bg1"/>
                </a:solidFill>
              </a:rPr>
              <a:t>Exemplar for submission</a:t>
            </a:r>
          </a:p>
        </p:txBody>
      </p:sp>
    </p:spTree>
    <p:extLst>
      <p:ext uri="{BB962C8B-B14F-4D97-AF65-F5344CB8AC3E}">
        <p14:creationId xmlns:p14="http://schemas.microsoft.com/office/powerpoint/2010/main" val="737886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F43706-46E4-F229-53C7-F6C46840E4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B74318B-F55E-1DC7-66E9-0AF6BEDFB8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4318B-F55E-1DC7-66E9-0AF6BEDFB8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F82E61-8F6E-E2C8-AB03-C7BE8769C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r>
              <a:rPr lang="en-US"/>
              <a:t>Ideation Round</a:t>
            </a:r>
          </a:p>
        </p:txBody>
      </p:sp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3D206092-007A-2CFB-D4F5-FD7FE8C7DFF7}"/>
              </a:ext>
            </a:extLst>
          </p:cNvPr>
          <p:cNvSpPr/>
          <p:nvPr/>
        </p:nvSpPr>
        <p:spPr>
          <a:xfrm>
            <a:off x="630000" y="1495046"/>
            <a:ext cx="1795700" cy="1671235"/>
          </a:xfrm>
          <a:prstGeom prst="round2DiagRect">
            <a:avLst>
              <a:gd name="adj1" fmla="val 8754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None/>
            </a:pPr>
            <a:r>
              <a:rPr lang="en-IN" sz="1600" b="1">
                <a:solidFill>
                  <a:srgbClr val="FFFFFF"/>
                </a:solidFill>
              </a:rPr>
              <a:t>Dataset/ Hardware Requiremen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974A31-D865-7968-6150-058EFA866B1B}"/>
              </a:ext>
            </a:extLst>
          </p:cNvPr>
          <p:cNvSpPr txBox="1"/>
          <p:nvPr/>
        </p:nvSpPr>
        <p:spPr>
          <a:xfrm>
            <a:off x="2540000" y="1495046"/>
            <a:ext cx="9023350" cy="16712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rtl="0">
              <a:buFont typeface="Arial" panose="020B0604020202020204" pitchFamily="34" charset="0"/>
              <a:buChar char="•"/>
            </a:pPr>
            <a:r>
              <a:rPr lang="en-IN" sz="1400" b="1" dirty="0">
                <a:solidFill>
                  <a:schemeClr val="tx2">
                    <a:lumMod val="75000"/>
                  </a:schemeClr>
                </a:solidFill>
              </a:rPr>
              <a:t>RFD Datasets</a:t>
            </a:r>
            <a:r>
              <a:rPr lang="en-IN" sz="1400" b="1" dirty="0">
                <a:solidFill>
                  <a:schemeClr val="tx1"/>
                </a:solidFill>
              </a:rPr>
              <a:t>: </a:t>
            </a:r>
            <a:r>
              <a:rPr lang="en-US" sz="1400" dirty="0">
                <a:solidFill>
                  <a:schemeClr val="tx1"/>
                </a:solidFill>
              </a:rPr>
              <a:t>Plantation records (site boundaries, species, planting dates) to map forest areas and assess 	         fuel load.</a:t>
            </a:r>
          </a:p>
          <a:p>
            <a:pPr rtl="0">
              <a:buFont typeface="Arial" panose="020B0604020202020204" pitchFamily="34" charset="0"/>
              <a:buChar char="•"/>
            </a:pPr>
            <a:r>
              <a:rPr lang="en-IN" sz="1400" b="1" dirty="0">
                <a:solidFill>
                  <a:schemeClr val="tx2">
                    <a:lumMod val="75000"/>
                  </a:schemeClr>
                </a:solidFill>
              </a:rPr>
              <a:t>Satellite Imagery</a:t>
            </a:r>
            <a:r>
              <a:rPr lang="en-IN" sz="1400" b="1" dirty="0">
                <a:solidFill>
                  <a:schemeClr val="tx2"/>
                </a:solidFill>
              </a:rPr>
              <a:t>:</a:t>
            </a:r>
            <a:r>
              <a:rPr lang="en-IN" sz="1400" b="1" dirty="0">
                <a:solidFill>
                  <a:schemeClr val="tx1"/>
                </a:solidFill>
              </a:rPr>
              <a:t> </a:t>
            </a:r>
            <a:r>
              <a:rPr lang="en-IN" sz="1400" dirty="0">
                <a:solidFill>
                  <a:schemeClr val="tx1"/>
                </a:solidFill>
              </a:rPr>
              <a:t>Sentinel-1/2 imagery for vegetation and moisture analysis,ERA5 climate data and NOAA 	          weather data for temperature, humidity, and wind </a:t>
            </a:r>
            <a:r>
              <a:rPr lang="en-IN" sz="1400" dirty="0" err="1">
                <a:solidFill>
                  <a:schemeClr val="tx1"/>
                </a:solidFill>
              </a:rPr>
              <a:t>patterns,Land</a:t>
            </a:r>
            <a:r>
              <a:rPr lang="en-IN" sz="1400" dirty="0">
                <a:solidFill>
                  <a:schemeClr val="tx1"/>
                </a:solidFill>
              </a:rPr>
              <a:t> Use Land Cover (LULC) data, 	           rainfall, and groundwater trends for contextual analysis..</a:t>
            </a:r>
          </a:p>
          <a:p>
            <a:pPr marL="324000" lvl="1" indent="-216000" algn="just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IN" sz="1400" b="1" dirty="0">
                <a:solidFill>
                  <a:schemeClr val="tx2">
                    <a:lumMod val="75000"/>
                  </a:schemeClr>
                </a:solidFill>
              </a:rPr>
              <a:t>LULC Data</a:t>
            </a:r>
            <a:r>
              <a:rPr lang="en-IN" sz="1400" b="1" dirty="0">
                <a:solidFill>
                  <a:schemeClr val="tx2"/>
                </a:solidFill>
              </a:rPr>
              <a:t>:</a:t>
            </a:r>
            <a:endParaRPr lang="en-IN" sz="1400" b="1" dirty="0">
              <a:solidFill>
                <a:schemeClr val="tx1"/>
              </a:solidFill>
            </a:endParaRPr>
          </a:p>
          <a:p>
            <a:pPr algn="just" rtl="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Cloud Infrastructure</a:t>
            </a:r>
            <a:r>
              <a:rPr lang="en-US" sz="1400" dirty="0">
                <a:solidFill>
                  <a:schemeClr val="tx1"/>
                </a:solidFill>
              </a:rPr>
              <a:t>: AWS or Google Cloud server for data processing, model training, and dashboard hosting (e.g., EC2 instances with GPU support for AI training).</a:t>
            </a:r>
          </a:p>
          <a:p>
            <a:pPr algn="just" rtl="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No Field Hardware</a:t>
            </a:r>
            <a:r>
              <a:rPr lang="en-US" sz="1400" dirty="0">
                <a:solidFill>
                  <a:schemeClr val="tx1"/>
                </a:solidFill>
              </a:rPr>
              <a:t>: Relies entirely on existing satellite data, eliminating the need for additional sensors or on-ground equipment.</a:t>
            </a:r>
          </a:p>
          <a:p>
            <a:pPr algn="just" rtl="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Local Setup</a:t>
            </a:r>
            <a:r>
              <a:rPr lang="en-US" sz="1400" dirty="0">
                <a:solidFill>
                  <a:schemeClr val="tx1"/>
                </a:solidFill>
              </a:rPr>
              <a:t>: Optional laptops for RFD staff to access the web-based dashboard, requiring only internet connectivity.</a:t>
            </a:r>
          </a:p>
          <a:p>
            <a:pPr marL="324000" lvl="1" indent="-216000"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lang="en-IN" sz="1400" dirty="0">
              <a:solidFill>
                <a:schemeClr val="tx1"/>
              </a:solidFill>
            </a:endParaRPr>
          </a:p>
        </p:txBody>
      </p:sp>
      <p:sp>
        <p:nvSpPr>
          <p:cNvPr id="10" name="IllustrativeStamp">
            <a:extLst>
              <a:ext uri="{FF2B5EF4-FFF2-40B4-BE49-F238E27FC236}">
                <a16:creationId xmlns:a16="http://schemas.microsoft.com/office/drawing/2014/main" id="{A8A47124-2EC4-5BF9-C4CA-BB886AEBB075}"/>
              </a:ext>
            </a:extLst>
          </p:cNvPr>
          <p:cNvSpPr/>
          <p:nvPr/>
        </p:nvSpPr>
        <p:spPr>
          <a:xfrm>
            <a:off x="9504228" y="310405"/>
            <a:ext cx="1770323" cy="23823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n-US" sz="1200">
                <a:solidFill>
                  <a:schemeClr val="bg1"/>
                </a:solidFill>
              </a:rPr>
              <a:t>Exemplar for submission</a:t>
            </a:r>
          </a:p>
        </p:txBody>
      </p:sp>
    </p:spTree>
    <p:extLst>
      <p:ext uri="{BB962C8B-B14F-4D97-AF65-F5344CB8AC3E}">
        <p14:creationId xmlns:p14="http://schemas.microsoft.com/office/powerpoint/2010/main" val="1633062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4C3905-98E4-A0FC-4974-0C5BD2DCDD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3B17354-DF1C-F690-4570-3DC4021115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B17354-DF1C-F690-4570-3DC402111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64C2B8A0-0F96-6748-6D41-00252AA3B28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79" b="151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2A44912-C444-5DB9-353D-B46322510127}"/>
              </a:ext>
            </a:extLst>
          </p:cNvPr>
          <p:cNvSpPr/>
          <p:nvPr/>
        </p:nvSpPr>
        <p:spPr>
          <a:xfrm>
            <a:off x="0" y="0"/>
            <a:ext cx="12192000" cy="6884843"/>
          </a:xfrm>
          <a:prstGeom prst="rect">
            <a:avLst/>
          </a:prstGeom>
          <a:solidFill>
            <a:srgbClr val="003300">
              <a:alpha val="71765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137A22-648D-322D-60B5-72DC9D38B34C}"/>
              </a:ext>
            </a:extLst>
          </p:cNvPr>
          <p:cNvSpPr/>
          <p:nvPr/>
        </p:nvSpPr>
        <p:spPr>
          <a:xfrm>
            <a:off x="-16721" y="1443"/>
            <a:ext cx="10374551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77000">
                <a:srgbClr val="064E7F">
                  <a:alpha val="0"/>
                </a:srgbClr>
              </a:gs>
            </a:gsLst>
            <a:lin ang="1800000" scaled="0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object 21">
            <a:extLst>
              <a:ext uri="{FF2B5EF4-FFF2-40B4-BE49-F238E27FC236}">
                <a16:creationId xmlns:a16="http://schemas.microsoft.com/office/drawing/2014/main" id="{B87C12F3-4D9C-B759-87B7-ABBC812658A8}"/>
              </a:ext>
            </a:extLst>
          </p:cNvPr>
          <p:cNvSpPr/>
          <p:nvPr/>
        </p:nvSpPr>
        <p:spPr>
          <a:xfrm>
            <a:off x="9076266" y="1588306"/>
            <a:ext cx="3115733" cy="5282393"/>
          </a:xfrm>
          <a:custGeom>
            <a:avLst/>
            <a:gdLst/>
            <a:ahLst/>
            <a:cxnLst/>
            <a:rect l="l" t="t" r="r" b="b"/>
            <a:pathLst>
              <a:path w="4052570" h="6870700">
                <a:moveTo>
                  <a:pt x="4052369" y="0"/>
                </a:moveTo>
                <a:lnTo>
                  <a:pt x="3972579" y="0"/>
                </a:lnTo>
                <a:lnTo>
                  <a:pt x="3921788" y="12700"/>
                </a:lnTo>
                <a:lnTo>
                  <a:pt x="3770042" y="12700"/>
                </a:lnTo>
                <a:lnTo>
                  <a:pt x="3719677" y="25400"/>
                </a:lnTo>
                <a:lnTo>
                  <a:pt x="3669426" y="25400"/>
                </a:lnTo>
                <a:lnTo>
                  <a:pt x="3619290" y="38100"/>
                </a:lnTo>
                <a:lnTo>
                  <a:pt x="3569273" y="38100"/>
                </a:lnTo>
                <a:lnTo>
                  <a:pt x="3469602" y="63500"/>
                </a:lnTo>
                <a:lnTo>
                  <a:pt x="3419954" y="63500"/>
                </a:lnTo>
                <a:lnTo>
                  <a:pt x="3222671" y="114300"/>
                </a:lnTo>
                <a:lnTo>
                  <a:pt x="3173690" y="114300"/>
                </a:lnTo>
                <a:lnTo>
                  <a:pt x="3076153" y="139700"/>
                </a:lnTo>
                <a:lnTo>
                  <a:pt x="3027602" y="165100"/>
                </a:lnTo>
                <a:lnTo>
                  <a:pt x="2834910" y="215900"/>
                </a:lnTo>
                <a:lnTo>
                  <a:pt x="2787127" y="241300"/>
                </a:lnTo>
                <a:lnTo>
                  <a:pt x="2692047" y="266700"/>
                </a:lnTo>
                <a:lnTo>
                  <a:pt x="2644755" y="292100"/>
                </a:lnTo>
                <a:lnTo>
                  <a:pt x="2597632" y="304800"/>
                </a:lnTo>
                <a:lnTo>
                  <a:pt x="2550680" y="330200"/>
                </a:lnTo>
                <a:lnTo>
                  <a:pt x="2504192" y="342900"/>
                </a:lnTo>
                <a:lnTo>
                  <a:pt x="2412119" y="393700"/>
                </a:lnTo>
                <a:lnTo>
                  <a:pt x="2366538" y="406400"/>
                </a:lnTo>
                <a:lnTo>
                  <a:pt x="2187314" y="508000"/>
                </a:lnTo>
                <a:lnTo>
                  <a:pt x="2143293" y="520700"/>
                </a:lnTo>
                <a:lnTo>
                  <a:pt x="2013151" y="596900"/>
                </a:lnTo>
                <a:lnTo>
                  <a:pt x="1970418" y="635000"/>
                </a:lnTo>
                <a:lnTo>
                  <a:pt x="1928013" y="660400"/>
                </a:lnTo>
                <a:lnTo>
                  <a:pt x="1761715" y="762000"/>
                </a:lnTo>
                <a:lnTo>
                  <a:pt x="1720982" y="800100"/>
                </a:lnTo>
                <a:lnTo>
                  <a:pt x="1640543" y="850900"/>
                </a:lnTo>
                <a:lnTo>
                  <a:pt x="1600841" y="889000"/>
                </a:lnTo>
                <a:lnTo>
                  <a:pt x="1561487" y="914400"/>
                </a:lnTo>
                <a:lnTo>
                  <a:pt x="1522484" y="952500"/>
                </a:lnTo>
                <a:lnTo>
                  <a:pt x="1483833" y="977900"/>
                </a:lnTo>
                <a:lnTo>
                  <a:pt x="1407598" y="1054100"/>
                </a:lnTo>
                <a:lnTo>
                  <a:pt x="1370018" y="1079500"/>
                </a:lnTo>
                <a:lnTo>
                  <a:pt x="1332801" y="1117600"/>
                </a:lnTo>
                <a:lnTo>
                  <a:pt x="1295947" y="1155700"/>
                </a:lnTo>
                <a:lnTo>
                  <a:pt x="1259459" y="1181100"/>
                </a:lnTo>
                <a:lnTo>
                  <a:pt x="1223340" y="1219200"/>
                </a:lnTo>
                <a:lnTo>
                  <a:pt x="1187647" y="1257300"/>
                </a:lnTo>
                <a:lnTo>
                  <a:pt x="1152437" y="1295400"/>
                </a:lnTo>
                <a:lnTo>
                  <a:pt x="1117713" y="1333500"/>
                </a:lnTo>
                <a:lnTo>
                  <a:pt x="1083475" y="1371600"/>
                </a:lnTo>
                <a:lnTo>
                  <a:pt x="1049726" y="1409700"/>
                </a:lnTo>
                <a:lnTo>
                  <a:pt x="1016466" y="1447800"/>
                </a:lnTo>
                <a:lnTo>
                  <a:pt x="983698" y="1485900"/>
                </a:lnTo>
                <a:lnTo>
                  <a:pt x="951422" y="1524000"/>
                </a:lnTo>
                <a:lnTo>
                  <a:pt x="919640" y="1562100"/>
                </a:lnTo>
                <a:lnTo>
                  <a:pt x="888355" y="1600200"/>
                </a:lnTo>
                <a:lnTo>
                  <a:pt x="857566" y="1638300"/>
                </a:lnTo>
                <a:lnTo>
                  <a:pt x="827277" y="1676400"/>
                </a:lnTo>
                <a:lnTo>
                  <a:pt x="797487" y="1714500"/>
                </a:lnTo>
                <a:lnTo>
                  <a:pt x="768200" y="1765300"/>
                </a:lnTo>
                <a:lnTo>
                  <a:pt x="739416" y="1803400"/>
                </a:lnTo>
                <a:lnTo>
                  <a:pt x="711138" y="1841500"/>
                </a:lnTo>
                <a:lnTo>
                  <a:pt x="683365" y="1879600"/>
                </a:lnTo>
                <a:lnTo>
                  <a:pt x="656101" y="1930400"/>
                </a:lnTo>
                <a:lnTo>
                  <a:pt x="629346" y="1968500"/>
                </a:lnTo>
                <a:lnTo>
                  <a:pt x="603103" y="2006600"/>
                </a:lnTo>
                <a:lnTo>
                  <a:pt x="577372" y="2057400"/>
                </a:lnTo>
                <a:lnTo>
                  <a:pt x="552155" y="2095500"/>
                </a:lnTo>
                <a:lnTo>
                  <a:pt x="527453" y="2146300"/>
                </a:lnTo>
                <a:lnTo>
                  <a:pt x="503269" y="2184400"/>
                </a:lnTo>
                <a:lnTo>
                  <a:pt x="479604" y="2235200"/>
                </a:lnTo>
                <a:lnTo>
                  <a:pt x="456459" y="2273300"/>
                </a:lnTo>
                <a:lnTo>
                  <a:pt x="433836" y="2324100"/>
                </a:lnTo>
                <a:lnTo>
                  <a:pt x="411736" y="2362200"/>
                </a:lnTo>
                <a:lnTo>
                  <a:pt x="390160" y="2413000"/>
                </a:lnTo>
                <a:lnTo>
                  <a:pt x="369112" y="2451100"/>
                </a:lnTo>
                <a:lnTo>
                  <a:pt x="348591" y="2501900"/>
                </a:lnTo>
                <a:lnTo>
                  <a:pt x="328599" y="2552700"/>
                </a:lnTo>
                <a:lnTo>
                  <a:pt x="309073" y="2590800"/>
                </a:lnTo>
                <a:lnTo>
                  <a:pt x="290140" y="2641600"/>
                </a:lnTo>
                <a:lnTo>
                  <a:pt x="271800" y="2692400"/>
                </a:lnTo>
                <a:lnTo>
                  <a:pt x="254053" y="2743200"/>
                </a:lnTo>
                <a:lnTo>
                  <a:pt x="236901" y="2781300"/>
                </a:lnTo>
                <a:lnTo>
                  <a:pt x="220344" y="2832100"/>
                </a:lnTo>
                <a:lnTo>
                  <a:pt x="204382" y="2882900"/>
                </a:lnTo>
                <a:lnTo>
                  <a:pt x="189016" y="2933700"/>
                </a:lnTo>
                <a:lnTo>
                  <a:pt x="174246" y="2984500"/>
                </a:lnTo>
                <a:lnTo>
                  <a:pt x="160073" y="3022600"/>
                </a:lnTo>
                <a:lnTo>
                  <a:pt x="146497" y="3073400"/>
                </a:lnTo>
                <a:lnTo>
                  <a:pt x="133520" y="3124200"/>
                </a:lnTo>
                <a:lnTo>
                  <a:pt x="121140" y="3175000"/>
                </a:lnTo>
                <a:lnTo>
                  <a:pt x="109360" y="3225800"/>
                </a:lnTo>
                <a:lnTo>
                  <a:pt x="98179" y="3276600"/>
                </a:lnTo>
                <a:lnTo>
                  <a:pt x="87597" y="3314700"/>
                </a:lnTo>
                <a:lnTo>
                  <a:pt x="77617" y="3365500"/>
                </a:lnTo>
                <a:lnTo>
                  <a:pt x="68237" y="3416300"/>
                </a:lnTo>
                <a:lnTo>
                  <a:pt x="59459" y="3467100"/>
                </a:lnTo>
                <a:lnTo>
                  <a:pt x="51282" y="3517900"/>
                </a:lnTo>
                <a:lnTo>
                  <a:pt x="43708" y="3568700"/>
                </a:lnTo>
                <a:lnTo>
                  <a:pt x="36737" y="3619500"/>
                </a:lnTo>
                <a:lnTo>
                  <a:pt x="30370" y="3670300"/>
                </a:lnTo>
                <a:lnTo>
                  <a:pt x="24606" y="3721100"/>
                </a:lnTo>
                <a:lnTo>
                  <a:pt x="19447" y="3771900"/>
                </a:lnTo>
                <a:lnTo>
                  <a:pt x="14893" y="3822700"/>
                </a:lnTo>
                <a:lnTo>
                  <a:pt x="10945" y="3873500"/>
                </a:lnTo>
                <a:lnTo>
                  <a:pt x="7603" y="3924300"/>
                </a:lnTo>
                <a:lnTo>
                  <a:pt x="4867" y="3975100"/>
                </a:lnTo>
                <a:lnTo>
                  <a:pt x="2738" y="4025900"/>
                </a:lnTo>
                <a:lnTo>
                  <a:pt x="1217" y="4076700"/>
                </a:lnTo>
                <a:lnTo>
                  <a:pt x="304" y="4127500"/>
                </a:lnTo>
                <a:lnTo>
                  <a:pt x="0" y="4178300"/>
                </a:lnTo>
                <a:lnTo>
                  <a:pt x="304" y="4229100"/>
                </a:lnTo>
                <a:lnTo>
                  <a:pt x="1217" y="4279900"/>
                </a:lnTo>
                <a:lnTo>
                  <a:pt x="2738" y="4330700"/>
                </a:lnTo>
                <a:lnTo>
                  <a:pt x="4867" y="4381500"/>
                </a:lnTo>
                <a:lnTo>
                  <a:pt x="7603" y="4432300"/>
                </a:lnTo>
                <a:lnTo>
                  <a:pt x="10945" y="4483100"/>
                </a:lnTo>
                <a:lnTo>
                  <a:pt x="14893" y="4533900"/>
                </a:lnTo>
                <a:lnTo>
                  <a:pt x="19447" y="4584700"/>
                </a:lnTo>
                <a:lnTo>
                  <a:pt x="24606" y="4635500"/>
                </a:lnTo>
                <a:lnTo>
                  <a:pt x="30370" y="4686300"/>
                </a:lnTo>
                <a:lnTo>
                  <a:pt x="36737" y="4737100"/>
                </a:lnTo>
                <a:lnTo>
                  <a:pt x="43708" y="4787900"/>
                </a:lnTo>
                <a:lnTo>
                  <a:pt x="51282" y="4838700"/>
                </a:lnTo>
                <a:lnTo>
                  <a:pt x="59459" y="4889500"/>
                </a:lnTo>
                <a:lnTo>
                  <a:pt x="68237" y="4927600"/>
                </a:lnTo>
                <a:lnTo>
                  <a:pt x="77617" y="4978400"/>
                </a:lnTo>
                <a:lnTo>
                  <a:pt x="87597" y="5029200"/>
                </a:lnTo>
                <a:lnTo>
                  <a:pt x="98179" y="5080000"/>
                </a:lnTo>
                <a:lnTo>
                  <a:pt x="109360" y="5130800"/>
                </a:lnTo>
                <a:lnTo>
                  <a:pt x="121140" y="5181600"/>
                </a:lnTo>
                <a:lnTo>
                  <a:pt x="133520" y="5232400"/>
                </a:lnTo>
                <a:lnTo>
                  <a:pt x="146497" y="5270500"/>
                </a:lnTo>
                <a:lnTo>
                  <a:pt x="160073" y="5321300"/>
                </a:lnTo>
                <a:lnTo>
                  <a:pt x="174246" y="5372100"/>
                </a:lnTo>
                <a:lnTo>
                  <a:pt x="189016" y="5422900"/>
                </a:lnTo>
                <a:lnTo>
                  <a:pt x="204382" y="5473700"/>
                </a:lnTo>
                <a:lnTo>
                  <a:pt x="220344" y="5511800"/>
                </a:lnTo>
                <a:lnTo>
                  <a:pt x="236901" y="5562600"/>
                </a:lnTo>
                <a:lnTo>
                  <a:pt x="254053" y="5613400"/>
                </a:lnTo>
                <a:lnTo>
                  <a:pt x="271800" y="5664200"/>
                </a:lnTo>
                <a:lnTo>
                  <a:pt x="290140" y="5702300"/>
                </a:lnTo>
                <a:lnTo>
                  <a:pt x="309073" y="5753100"/>
                </a:lnTo>
                <a:lnTo>
                  <a:pt x="328599" y="5803900"/>
                </a:lnTo>
                <a:lnTo>
                  <a:pt x="348591" y="5854700"/>
                </a:lnTo>
                <a:lnTo>
                  <a:pt x="369112" y="5892800"/>
                </a:lnTo>
                <a:lnTo>
                  <a:pt x="390160" y="5943600"/>
                </a:lnTo>
                <a:lnTo>
                  <a:pt x="411736" y="5981700"/>
                </a:lnTo>
                <a:lnTo>
                  <a:pt x="433836" y="6032500"/>
                </a:lnTo>
                <a:lnTo>
                  <a:pt x="456459" y="6070600"/>
                </a:lnTo>
                <a:lnTo>
                  <a:pt x="479604" y="6121400"/>
                </a:lnTo>
                <a:lnTo>
                  <a:pt x="503269" y="6159500"/>
                </a:lnTo>
                <a:lnTo>
                  <a:pt x="527453" y="6210300"/>
                </a:lnTo>
                <a:lnTo>
                  <a:pt x="552155" y="6248400"/>
                </a:lnTo>
                <a:lnTo>
                  <a:pt x="577372" y="6299200"/>
                </a:lnTo>
                <a:lnTo>
                  <a:pt x="603103" y="6337300"/>
                </a:lnTo>
                <a:lnTo>
                  <a:pt x="629346" y="6388100"/>
                </a:lnTo>
                <a:lnTo>
                  <a:pt x="656101" y="6426200"/>
                </a:lnTo>
                <a:lnTo>
                  <a:pt x="683365" y="6464300"/>
                </a:lnTo>
                <a:lnTo>
                  <a:pt x="711138" y="6502400"/>
                </a:lnTo>
                <a:lnTo>
                  <a:pt x="739416" y="6553200"/>
                </a:lnTo>
                <a:lnTo>
                  <a:pt x="768200" y="6591300"/>
                </a:lnTo>
                <a:lnTo>
                  <a:pt x="797487" y="6629400"/>
                </a:lnTo>
                <a:lnTo>
                  <a:pt x="827277" y="6667500"/>
                </a:lnTo>
                <a:lnTo>
                  <a:pt x="857566" y="6718300"/>
                </a:lnTo>
                <a:lnTo>
                  <a:pt x="888355" y="6756400"/>
                </a:lnTo>
                <a:lnTo>
                  <a:pt x="919640" y="6794500"/>
                </a:lnTo>
                <a:lnTo>
                  <a:pt x="951422" y="6832600"/>
                </a:lnTo>
                <a:lnTo>
                  <a:pt x="983698" y="6870700"/>
                </a:lnTo>
                <a:lnTo>
                  <a:pt x="4052369" y="6870700"/>
                </a:lnTo>
                <a:lnTo>
                  <a:pt x="4052369" y="6540500"/>
                </a:lnTo>
                <a:lnTo>
                  <a:pt x="3937493" y="6540500"/>
                </a:lnTo>
                <a:lnTo>
                  <a:pt x="3890417" y="6527800"/>
                </a:lnTo>
                <a:lnTo>
                  <a:pt x="3843620" y="6527800"/>
                </a:lnTo>
                <a:lnTo>
                  <a:pt x="3797111" y="6515100"/>
                </a:lnTo>
                <a:lnTo>
                  <a:pt x="3750899" y="6515100"/>
                </a:lnTo>
                <a:lnTo>
                  <a:pt x="3393010" y="6413500"/>
                </a:lnTo>
                <a:lnTo>
                  <a:pt x="3307157" y="6388100"/>
                </a:lnTo>
                <a:lnTo>
                  <a:pt x="3264824" y="6362700"/>
                </a:lnTo>
                <a:lnTo>
                  <a:pt x="3222900" y="6350000"/>
                </a:lnTo>
                <a:lnTo>
                  <a:pt x="3181393" y="6324600"/>
                </a:lnTo>
                <a:lnTo>
                  <a:pt x="3140313" y="6311900"/>
                </a:lnTo>
                <a:lnTo>
                  <a:pt x="3099668" y="6286500"/>
                </a:lnTo>
                <a:lnTo>
                  <a:pt x="3059469" y="6273800"/>
                </a:lnTo>
                <a:lnTo>
                  <a:pt x="2980444" y="6223000"/>
                </a:lnTo>
                <a:lnTo>
                  <a:pt x="2903311" y="6172200"/>
                </a:lnTo>
                <a:lnTo>
                  <a:pt x="2828144" y="6121400"/>
                </a:lnTo>
                <a:lnTo>
                  <a:pt x="2755018" y="6070600"/>
                </a:lnTo>
                <a:lnTo>
                  <a:pt x="2719243" y="6045200"/>
                </a:lnTo>
                <a:lnTo>
                  <a:pt x="2684005" y="6019800"/>
                </a:lnTo>
                <a:lnTo>
                  <a:pt x="2649315" y="5994400"/>
                </a:lnTo>
                <a:lnTo>
                  <a:pt x="2615182" y="5956300"/>
                </a:lnTo>
                <a:lnTo>
                  <a:pt x="2581614" y="5930900"/>
                </a:lnTo>
                <a:lnTo>
                  <a:pt x="2548621" y="5905500"/>
                </a:lnTo>
                <a:lnTo>
                  <a:pt x="2516212" y="5867400"/>
                </a:lnTo>
                <a:lnTo>
                  <a:pt x="2484396" y="5842000"/>
                </a:lnTo>
                <a:lnTo>
                  <a:pt x="2453184" y="5803900"/>
                </a:lnTo>
                <a:lnTo>
                  <a:pt x="2422583" y="5765800"/>
                </a:lnTo>
                <a:lnTo>
                  <a:pt x="2392603" y="5740400"/>
                </a:lnTo>
                <a:lnTo>
                  <a:pt x="2363254" y="5702300"/>
                </a:lnTo>
                <a:lnTo>
                  <a:pt x="2334545" y="5664200"/>
                </a:lnTo>
                <a:lnTo>
                  <a:pt x="2306484" y="5638800"/>
                </a:lnTo>
                <a:lnTo>
                  <a:pt x="2279082" y="5600700"/>
                </a:lnTo>
                <a:lnTo>
                  <a:pt x="2252347" y="5562600"/>
                </a:lnTo>
                <a:lnTo>
                  <a:pt x="2226289" y="5524500"/>
                </a:lnTo>
                <a:lnTo>
                  <a:pt x="2200917" y="5486400"/>
                </a:lnTo>
                <a:lnTo>
                  <a:pt x="2176241" y="5448300"/>
                </a:lnTo>
                <a:lnTo>
                  <a:pt x="2152269" y="5410200"/>
                </a:lnTo>
                <a:lnTo>
                  <a:pt x="2129011" y="5372100"/>
                </a:lnTo>
                <a:lnTo>
                  <a:pt x="2106475" y="5334000"/>
                </a:lnTo>
                <a:lnTo>
                  <a:pt x="2084673" y="5295900"/>
                </a:lnTo>
                <a:lnTo>
                  <a:pt x="2063611" y="5257800"/>
                </a:lnTo>
                <a:lnTo>
                  <a:pt x="2043301" y="5207000"/>
                </a:lnTo>
                <a:lnTo>
                  <a:pt x="2023751" y="5168900"/>
                </a:lnTo>
                <a:lnTo>
                  <a:pt x="2004970" y="5130800"/>
                </a:lnTo>
                <a:lnTo>
                  <a:pt x="1986967" y="5092700"/>
                </a:lnTo>
                <a:lnTo>
                  <a:pt x="1969753" y="5041900"/>
                </a:lnTo>
                <a:lnTo>
                  <a:pt x="1953336" y="5003800"/>
                </a:lnTo>
                <a:lnTo>
                  <a:pt x="1937725" y="4965700"/>
                </a:lnTo>
                <a:lnTo>
                  <a:pt x="1922930" y="4914900"/>
                </a:lnTo>
                <a:lnTo>
                  <a:pt x="1908959" y="4876800"/>
                </a:lnTo>
                <a:lnTo>
                  <a:pt x="1895823" y="4826000"/>
                </a:lnTo>
                <a:lnTo>
                  <a:pt x="1883531" y="4787900"/>
                </a:lnTo>
                <a:lnTo>
                  <a:pt x="1872091" y="4737100"/>
                </a:lnTo>
                <a:lnTo>
                  <a:pt x="1861513" y="4699000"/>
                </a:lnTo>
                <a:lnTo>
                  <a:pt x="1851806" y="4648200"/>
                </a:lnTo>
                <a:lnTo>
                  <a:pt x="1842980" y="4597400"/>
                </a:lnTo>
                <a:lnTo>
                  <a:pt x="1835044" y="4559300"/>
                </a:lnTo>
                <a:lnTo>
                  <a:pt x="1828006" y="4508500"/>
                </a:lnTo>
                <a:lnTo>
                  <a:pt x="1821877" y="4457700"/>
                </a:lnTo>
                <a:lnTo>
                  <a:pt x="1816666" y="4419600"/>
                </a:lnTo>
                <a:lnTo>
                  <a:pt x="1812381" y="4368800"/>
                </a:lnTo>
                <a:lnTo>
                  <a:pt x="1809032" y="4318000"/>
                </a:lnTo>
                <a:lnTo>
                  <a:pt x="1806629" y="4267200"/>
                </a:lnTo>
                <a:lnTo>
                  <a:pt x="1805180" y="4229100"/>
                </a:lnTo>
                <a:lnTo>
                  <a:pt x="1804695" y="4178300"/>
                </a:lnTo>
                <a:lnTo>
                  <a:pt x="1805180" y="4127500"/>
                </a:lnTo>
                <a:lnTo>
                  <a:pt x="1806629" y="4076700"/>
                </a:lnTo>
                <a:lnTo>
                  <a:pt x="1809032" y="4025900"/>
                </a:lnTo>
                <a:lnTo>
                  <a:pt x="1812381" y="3987800"/>
                </a:lnTo>
                <a:lnTo>
                  <a:pt x="1816666" y="3937000"/>
                </a:lnTo>
                <a:lnTo>
                  <a:pt x="1821877" y="3886200"/>
                </a:lnTo>
                <a:lnTo>
                  <a:pt x="1828007" y="3848100"/>
                </a:lnTo>
                <a:lnTo>
                  <a:pt x="1835044" y="3797300"/>
                </a:lnTo>
                <a:lnTo>
                  <a:pt x="1842981" y="3746500"/>
                </a:lnTo>
                <a:lnTo>
                  <a:pt x="1851807" y="3708400"/>
                </a:lnTo>
                <a:lnTo>
                  <a:pt x="1861514" y="3657600"/>
                </a:lnTo>
                <a:lnTo>
                  <a:pt x="1872092" y="3619500"/>
                </a:lnTo>
                <a:lnTo>
                  <a:pt x="1883532" y="3568700"/>
                </a:lnTo>
                <a:lnTo>
                  <a:pt x="1895824" y="3517900"/>
                </a:lnTo>
                <a:lnTo>
                  <a:pt x="1908961" y="3479800"/>
                </a:lnTo>
                <a:lnTo>
                  <a:pt x="1922931" y="3441700"/>
                </a:lnTo>
                <a:lnTo>
                  <a:pt x="1937726" y="3390900"/>
                </a:lnTo>
                <a:lnTo>
                  <a:pt x="1953337" y="3352800"/>
                </a:lnTo>
                <a:lnTo>
                  <a:pt x="1969755" y="3302000"/>
                </a:lnTo>
                <a:lnTo>
                  <a:pt x="1986969" y="3263900"/>
                </a:lnTo>
                <a:lnTo>
                  <a:pt x="2004972" y="3225800"/>
                </a:lnTo>
                <a:lnTo>
                  <a:pt x="2023753" y="3175000"/>
                </a:lnTo>
                <a:lnTo>
                  <a:pt x="2043303" y="3136900"/>
                </a:lnTo>
                <a:lnTo>
                  <a:pt x="2063614" y="3098800"/>
                </a:lnTo>
                <a:lnTo>
                  <a:pt x="2084675" y="3060700"/>
                </a:lnTo>
                <a:lnTo>
                  <a:pt x="2106478" y="3022600"/>
                </a:lnTo>
                <a:lnTo>
                  <a:pt x="2129013" y="2984500"/>
                </a:lnTo>
                <a:lnTo>
                  <a:pt x="2152272" y="2946400"/>
                </a:lnTo>
                <a:lnTo>
                  <a:pt x="2176244" y="2908300"/>
                </a:lnTo>
                <a:lnTo>
                  <a:pt x="2200921" y="2870200"/>
                </a:lnTo>
                <a:lnTo>
                  <a:pt x="2226293" y="2832100"/>
                </a:lnTo>
                <a:lnTo>
                  <a:pt x="2252351" y="2794000"/>
                </a:lnTo>
                <a:lnTo>
                  <a:pt x="2279086" y="2755900"/>
                </a:lnTo>
                <a:lnTo>
                  <a:pt x="2306488" y="2717800"/>
                </a:lnTo>
                <a:lnTo>
                  <a:pt x="2334549" y="2679700"/>
                </a:lnTo>
                <a:lnTo>
                  <a:pt x="2363258" y="2654300"/>
                </a:lnTo>
                <a:lnTo>
                  <a:pt x="2392608" y="2616200"/>
                </a:lnTo>
                <a:lnTo>
                  <a:pt x="2422587" y="2578100"/>
                </a:lnTo>
                <a:lnTo>
                  <a:pt x="2453188" y="2552700"/>
                </a:lnTo>
                <a:lnTo>
                  <a:pt x="2484401" y="2514600"/>
                </a:lnTo>
                <a:lnTo>
                  <a:pt x="2516217" y="2489200"/>
                </a:lnTo>
                <a:lnTo>
                  <a:pt x="2548626" y="2451100"/>
                </a:lnTo>
                <a:lnTo>
                  <a:pt x="2581619" y="2425700"/>
                </a:lnTo>
                <a:lnTo>
                  <a:pt x="2615187" y="2387600"/>
                </a:lnTo>
                <a:lnTo>
                  <a:pt x="2649321" y="2362200"/>
                </a:lnTo>
                <a:lnTo>
                  <a:pt x="2684011" y="2336800"/>
                </a:lnTo>
                <a:lnTo>
                  <a:pt x="2719248" y="2311400"/>
                </a:lnTo>
                <a:lnTo>
                  <a:pt x="2755023" y="2273300"/>
                </a:lnTo>
                <a:lnTo>
                  <a:pt x="2828150" y="2222500"/>
                </a:lnTo>
                <a:lnTo>
                  <a:pt x="2903317" y="2171700"/>
                </a:lnTo>
                <a:lnTo>
                  <a:pt x="2941642" y="2146300"/>
                </a:lnTo>
                <a:lnTo>
                  <a:pt x="2980450" y="2133600"/>
                </a:lnTo>
                <a:lnTo>
                  <a:pt x="3059475" y="2082800"/>
                </a:lnTo>
                <a:lnTo>
                  <a:pt x="3099674" y="2057400"/>
                </a:lnTo>
                <a:lnTo>
                  <a:pt x="3140318" y="2044700"/>
                </a:lnTo>
                <a:lnTo>
                  <a:pt x="3181398" y="2019300"/>
                </a:lnTo>
                <a:lnTo>
                  <a:pt x="3222905" y="2006600"/>
                </a:lnTo>
                <a:lnTo>
                  <a:pt x="3264830" y="1981200"/>
                </a:lnTo>
                <a:lnTo>
                  <a:pt x="3393015" y="1943100"/>
                </a:lnTo>
                <a:lnTo>
                  <a:pt x="3436517" y="1917700"/>
                </a:lnTo>
                <a:lnTo>
                  <a:pt x="3614143" y="1866900"/>
                </a:lnTo>
                <a:lnTo>
                  <a:pt x="3659408" y="1866900"/>
                </a:lnTo>
                <a:lnTo>
                  <a:pt x="3797114" y="1828800"/>
                </a:lnTo>
                <a:lnTo>
                  <a:pt x="3843623" y="1828800"/>
                </a:lnTo>
                <a:lnTo>
                  <a:pt x="3890420" y="1816100"/>
                </a:lnTo>
                <a:lnTo>
                  <a:pt x="3984839" y="1816100"/>
                </a:lnTo>
                <a:lnTo>
                  <a:pt x="4032444" y="1803400"/>
                </a:lnTo>
                <a:lnTo>
                  <a:pt x="4052369" y="1803400"/>
                </a:lnTo>
                <a:lnTo>
                  <a:pt x="4052369" y="0"/>
                </a:lnTo>
                <a:close/>
              </a:path>
            </a:pathLst>
          </a:custGeom>
          <a:solidFill>
            <a:srgbClr val="000508">
              <a:alpha val="23000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object 27">
            <a:extLst>
              <a:ext uri="{FF2B5EF4-FFF2-40B4-BE49-F238E27FC236}">
                <a16:creationId xmlns:a16="http://schemas.microsoft.com/office/drawing/2014/main" id="{59588C34-3D89-5F78-B537-ED2F94D78061}"/>
              </a:ext>
            </a:extLst>
          </p:cNvPr>
          <p:cNvSpPr/>
          <p:nvPr/>
        </p:nvSpPr>
        <p:spPr>
          <a:xfrm>
            <a:off x="10589787" y="5157101"/>
            <a:ext cx="2265045" cy="2265045"/>
          </a:xfrm>
          <a:custGeom>
            <a:avLst/>
            <a:gdLst/>
            <a:ahLst/>
            <a:cxnLst/>
            <a:rect l="l" t="t" r="r" b="b"/>
            <a:pathLst>
              <a:path w="2265045" h="2265045">
                <a:moveTo>
                  <a:pt x="2264448" y="0"/>
                </a:moveTo>
                <a:lnTo>
                  <a:pt x="2213617" y="554"/>
                </a:lnTo>
                <a:lnTo>
                  <a:pt x="2162960" y="2217"/>
                </a:lnTo>
                <a:lnTo>
                  <a:pt x="2112484" y="4987"/>
                </a:lnTo>
                <a:lnTo>
                  <a:pt x="2062198" y="8862"/>
                </a:lnTo>
                <a:lnTo>
                  <a:pt x="2012110" y="13839"/>
                </a:lnTo>
                <a:lnTo>
                  <a:pt x="1962229" y="19919"/>
                </a:lnTo>
                <a:lnTo>
                  <a:pt x="1912564" y="27098"/>
                </a:lnTo>
                <a:lnTo>
                  <a:pt x="1863123" y="35375"/>
                </a:lnTo>
                <a:lnTo>
                  <a:pt x="1813914" y="44748"/>
                </a:lnTo>
                <a:lnTo>
                  <a:pt x="1764945" y="55216"/>
                </a:lnTo>
                <a:lnTo>
                  <a:pt x="1716226" y="66776"/>
                </a:lnTo>
                <a:lnTo>
                  <a:pt x="1667764" y="79428"/>
                </a:lnTo>
                <a:lnTo>
                  <a:pt x="1619568" y="93169"/>
                </a:lnTo>
                <a:lnTo>
                  <a:pt x="1571647" y="107998"/>
                </a:lnTo>
                <a:lnTo>
                  <a:pt x="1524009" y="123913"/>
                </a:lnTo>
                <a:lnTo>
                  <a:pt x="1476662" y="140912"/>
                </a:lnTo>
                <a:lnTo>
                  <a:pt x="1429616" y="158993"/>
                </a:lnTo>
                <a:lnTo>
                  <a:pt x="1382877" y="178155"/>
                </a:lnTo>
                <a:lnTo>
                  <a:pt x="1335569" y="198795"/>
                </a:lnTo>
                <a:lnTo>
                  <a:pt x="1288842" y="220449"/>
                </a:lnTo>
                <a:lnTo>
                  <a:pt x="1242705" y="243112"/>
                </a:lnTo>
                <a:lnTo>
                  <a:pt x="1197165" y="266780"/>
                </a:lnTo>
                <a:lnTo>
                  <a:pt x="1152230" y="291445"/>
                </a:lnTo>
                <a:lnTo>
                  <a:pt x="1107910" y="317103"/>
                </a:lnTo>
                <a:lnTo>
                  <a:pt x="1064211" y="343747"/>
                </a:lnTo>
                <a:lnTo>
                  <a:pt x="1021143" y="371373"/>
                </a:lnTo>
                <a:lnTo>
                  <a:pt x="978714" y="399975"/>
                </a:lnTo>
                <a:lnTo>
                  <a:pt x="936931" y="429547"/>
                </a:lnTo>
                <a:lnTo>
                  <a:pt x="895803" y="460083"/>
                </a:lnTo>
                <a:lnTo>
                  <a:pt x="855338" y="491578"/>
                </a:lnTo>
                <a:lnTo>
                  <a:pt x="815544" y="524027"/>
                </a:lnTo>
                <a:lnTo>
                  <a:pt x="776429" y="557424"/>
                </a:lnTo>
                <a:lnTo>
                  <a:pt x="738002" y="591762"/>
                </a:lnTo>
                <a:lnTo>
                  <a:pt x="700271" y="627038"/>
                </a:lnTo>
                <a:lnTo>
                  <a:pt x="663244" y="663244"/>
                </a:lnTo>
                <a:lnTo>
                  <a:pt x="627036" y="700271"/>
                </a:lnTo>
                <a:lnTo>
                  <a:pt x="591759" y="738002"/>
                </a:lnTo>
                <a:lnTo>
                  <a:pt x="557419" y="776429"/>
                </a:lnTo>
                <a:lnTo>
                  <a:pt x="524022" y="815544"/>
                </a:lnTo>
                <a:lnTo>
                  <a:pt x="491573" y="855338"/>
                </a:lnTo>
                <a:lnTo>
                  <a:pt x="460077" y="895803"/>
                </a:lnTo>
                <a:lnTo>
                  <a:pt x="429541" y="936931"/>
                </a:lnTo>
                <a:lnTo>
                  <a:pt x="399970" y="978714"/>
                </a:lnTo>
                <a:lnTo>
                  <a:pt x="371369" y="1021143"/>
                </a:lnTo>
                <a:lnTo>
                  <a:pt x="343744" y="1064211"/>
                </a:lnTo>
                <a:lnTo>
                  <a:pt x="317100" y="1107910"/>
                </a:lnTo>
                <a:lnTo>
                  <a:pt x="291443" y="1152230"/>
                </a:lnTo>
                <a:lnTo>
                  <a:pt x="266778" y="1197165"/>
                </a:lnTo>
                <a:lnTo>
                  <a:pt x="243112" y="1242705"/>
                </a:lnTo>
                <a:lnTo>
                  <a:pt x="220448" y="1288842"/>
                </a:lnTo>
                <a:lnTo>
                  <a:pt x="198794" y="1335569"/>
                </a:lnTo>
                <a:lnTo>
                  <a:pt x="178155" y="1382877"/>
                </a:lnTo>
                <a:lnTo>
                  <a:pt x="158991" y="1429616"/>
                </a:lnTo>
                <a:lnTo>
                  <a:pt x="140908" y="1476662"/>
                </a:lnTo>
                <a:lnTo>
                  <a:pt x="123908" y="1524009"/>
                </a:lnTo>
                <a:lnTo>
                  <a:pt x="107993" y="1571647"/>
                </a:lnTo>
                <a:lnTo>
                  <a:pt x="93164" y="1619568"/>
                </a:lnTo>
                <a:lnTo>
                  <a:pt x="79422" y="1667764"/>
                </a:lnTo>
                <a:lnTo>
                  <a:pt x="66771" y="1716226"/>
                </a:lnTo>
                <a:lnTo>
                  <a:pt x="55211" y="1764945"/>
                </a:lnTo>
                <a:lnTo>
                  <a:pt x="44743" y="1813914"/>
                </a:lnTo>
                <a:lnTo>
                  <a:pt x="35371" y="1863123"/>
                </a:lnTo>
                <a:lnTo>
                  <a:pt x="27094" y="1912564"/>
                </a:lnTo>
                <a:lnTo>
                  <a:pt x="19916" y="1962229"/>
                </a:lnTo>
                <a:lnTo>
                  <a:pt x="13837" y="2012110"/>
                </a:lnTo>
                <a:lnTo>
                  <a:pt x="8860" y="2062198"/>
                </a:lnTo>
                <a:lnTo>
                  <a:pt x="4986" y="2112484"/>
                </a:lnTo>
                <a:lnTo>
                  <a:pt x="2217" y="2162960"/>
                </a:lnTo>
                <a:lnTo>
                  <a:pt x="554" y="2213617"/>
                </a:lnTo>
                <a:lnTo>
                  <a:pt x="0" y="2264448"/>
                </a:lnTo>
                <a:lnTo>
                  <a:pt x="978433" y="2264460"/>
                </a:lnTo>
                <a:lnTo>
                  <a:pt x="979322" y="2216309"/>
                </a:lnTo>
                <a:lnTo>
                  <a:pt x="981967" y="2168611"/>
                </a:lnTo>
                <a:lnTo>
                  <a:pt x="986338" y="2121386"/>
                </a:lnTo>
                <a:lnTo>
                  <a:pt x="992402" y="2074664"/>
                </a:lnTo>
                <a:lnTo>
                  <a:pt x="1000130" y="2028478"/>
                </a:lnTo>
                <a:lnTo>
                  <a:pt x="1009488" y="1982858"/>
                </a:lnTo>
                <a:lnTo>
                  <a:pt x="1020447" y="1937835"/>
                </a:lnTo>
                <a:lnTo>
                  <a:pt x="1032974" y="1893442"/>
                </a:lnTo>
                <a:lnTo>
                  <a:pt x="1047039" y="1849709"/>
                </a:lnTo>
                <a:lnTo>
                  <a:pt x="1062609" y="1806667"/>
                </a:lnTo>
                <a:lnTo>
                  <a:pt x="1079655" y="1764349"/>
                </a:lnTo>
                <a:lnTo>
                  <a:pt x="1098144" y="1722785"/>
                </a:lnTo>
                <a:lnTo>
                  <a:pt x="1118044" y="1682006"/>
                </a:lnTo>
                <a:lnTo>
                  <a:pt x="1139326" y="1642045"/>
                </a:lnTo>
                <a:lnTo>
                  <a:pt x="1161957" y="1602932"/>
                </a:lnTo>
                <a:lnTo>
                  <a:pt x="1185906" y="1564698"/>
                </a:lnTo>
                <a:lnTo>
                  <a:pt x="1211142" y="1527375"/>
                </a:lnTo>
                <a:lnTo>
                  <a:pt x="1237633" y="1490995"/>
                </a:lnTo>
                <a:lnTo>
                  <a:pt x="1265349" y="1455588"/>
                </a:lnTo>
                <a:lnTo>
                  <a:pt x="1294257" y="1421186"/>
                </a:lnTo>
                <a:lnTo>
                  <a:pt x="1324326" y="1387820"/>
                </a:lnTo>
                <a:lnTo>
                  <a:pt x="1355526" y="1355521"/>
                </a:lnTo>
                <a:lnTo>
                  <a:pt x="1387825" y="1324322"/>
                </a:lnTo>
                <a:lnTo>
                  <a:pt x="1421191" y="1294252"/>
                </a:lnTo>
                <a:lnTo>
                  <a:pt x="1455593" y="1265344"/>
                </a:lnTo>
                <a:lnTo>
                  <a:pt x="1491000" y="1237629"/>
                </a:lnTo>
                <a:lnTo>
                  <a:pt x="1527381" y="1211138"/>
                </a:lnTo>
                <a:lnTo>
                  <a:pt x="1564704" y="1185903"/>
                </a:lnTo>
                <a:lnTo>
                  <a:pt x="1602937" y="1161954"/>
                </a:lnTo>
                <a:lnTo>
                  <a:pt x="1642051" y="1139323"/>
                </a:lnTo>
                <a:lnTo>
                  <a:pt x="1682012" y="1118042"/>
                </a:lnTo>
                <a:lnTo>
                  <a:pt x="1722790" y="1098142"/>
                </a:lnTo>
                <a:lnTo>
                  <a:pt x="1764354" y="1079653"/>
                </a:lnTo>
                <a:lnTo>
                  <a:pt x="1806673" y="1062608"/>
                </a:lnTo>
                <a:lnTo>
                  <a:pt x="1849714" y="1047038"/>
                </a:lnTo>
                <a:lnTo>
                  <a:pt x="1893446" y="1032973"/>
                </a:lnTo>
                <a:lnTo>
                  <a:pt x="1937840" y="1020446"/>
                </a:lnTo>
                <a:lnTo>
                  <a:pt x="1982862" y="1009488"/>
                </a:lnTo>
                <a:lnTo>
                  <a:pt x="2028481" y="1000129"/>
                </a:lnTo>
                <a:lnTo>
                  <a:pt x="2074667" y="992402"/>
                </a:lnTo>
                <a:lnTo>
                  <a:pt x="2121388" y="986338"/>
                </a:lnTo>
                <a:lnTo>
                  <a:pt x="2168613" y="981967"/>
                </a:lnTo>
                <a:lnTo>
                  <a:pt x="2216310" y="979322"/>
                </a:lnTo>
                <a:lnTo>
                  <a:pt x="2264448" y="978433"/>
                </a:lnTo>
                <a:lnTo>
                  <a:pt x="2264448" y="0"/>
                </a:lnTo>
                <a:close/>
              </a:path>
            </a:pathLst>
          </a:custGeom>
          <a:solidFill>
            <a:srgbClr val="2D5C47">
              <a:alpha val="56000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object 49">
            <a:extLst>
              <a:ext uri="{FF2B5EF4-FFF2-40B4-BE49-F238E27FC236}">
                <a16:creationId xmlns:a16="http://schemas.microsoft.com/office/drawing/2014/main" id="{0BB4BEFD-E4C6-77A9-F433-9BA440C7B9AC}"/>
              </a:ext>
            </a:extLst>
          </p:cNvPr>
          <p:cNvSpPr/>
          <p:nvPr/>
        </p:nvSpPr>
        <p:spPr>
          <a:xfrm rot="10800000">
            <a:off x="0" y="5208421"/>
            <a:ext cx="921356" cy="1662277"/>
          </a:xfrm>
          <a:custGeom>
            <a:avLst/>
            <a:gdLst/>
            <a:ahLst/>
            <a:cxnLst/>
            <a:rect l="l" t="t" r="r" b="b"/>
            <a:pathLst>
              <a:path w="1737995" h="3135630">
                <a:moveTo>
                  <a:pt x="1737568" y="0"/>
                </a:moveTo>
                <a:lnTo>
                  <a:pt x="354698" y="0"/>
                </a:lnTo>
                <a:lnTo>
                  <a:pt x="352918" y="2531"/>
                </a:lnTo>
                <a:lnTo>
                  <a:pt x="327651" y="40231"/>
                </a:lnTo>
                <a:lnTo>
                  <a:pt x="303215" y="78531"/>
                </a:lnTo>
                <a:lnTo>
                  <a:pt x="279623" y="117420"/>
                </a:lnTo>
                <a:lnTo>
                  <a:pt x="256889" y="156884"/>
                </a:lnTo>
                <a:lnTo>
                  <a:pt x="235025" y="196909"/>
                </a:lnTo>
                <a:lnTo>
                  <a:pt x="214044" y="237483"/>
                </a:lnTo>
                <a:lnTo>
                  <a:pt x="193959" y="278592"/>
                </a:lnTo>
                <a:lnTo>
                  <a:pt x="174784" y="320224"/>
                </a:lnTo>
                <a:lnTo>
                  <a:pt x="156531" y="362364"/>
                </a:lnTo>
                <a:lnTo>
                  <a:pt x="139214" y="405001"/>
                </a:lnTo>
                <a:lnTo>
                  <a:pt x="122845" y="448120"/>
                </a:lnTo>
                <a:lnTo>
                  <a:pt x="107438" y="491709"/>
                </a:lnTo>
                <a:lnTo>
                  <a:pt x="93005" y="535754"/>
                </a:lnTo>
                <a:lnTo>
                  <a:pt x="79560" y="580243"/>
                </a:lnTo>
                <a:lnTo>
                  <a:pt x="67115" y="625162"/>
                </a:lnTo>
                <a:lnTo>
                  <a:pt x="55684" y="670498"/>
                </a:lnTo>
                <a:lnTo>
                  <a:pt x="45280" y="716238"/>
                </a:lnTo>
                <a:lnTo>
                  <a:pt x="35916" y="762369"/>
                </a:lnTo>
                <a:lnTo>
                  <a:pt x="27605" y="808877"/>
                </a:lnTo>
                <a:lnTo>
                  <a:pt x="20359" y="855750"/>
                </a:lnTo>
                <a:lnTo>
                  <a:pt x="14192" y="902974"/>
                </a:lnTo>
                <a:lnTo>
                  <a:pt x="9118" y="950537"/>
                </a:lnTo>
                <a:lnTo>
                  <a:pt x="5148" y="998424"/>
                </a:lnTo>
                <a:lnTo>
                  <a:pt x="2296" y="1046623"/>
                </a:lnTo>
                <a:lnTo>
                  <a:pt x="576" y="1095122"/>
                </a:lnTo>
                <a:lnTo>
                  <a:pt x="0" y="1143905"/>
                </a:lnTo>
                <a:lnTo>
                  <a:pt x="576" y="1192689"/>
                </a:lnTo>
                <a:lnTo>
                  <a:pt x="2296" y="1241187"/>
                </a:lnTo>
                <a:lnTo>
                  <a:pt x="5148" y="1289386"/>
                </a:lnTo>
                <a:lnTo>
                  <a:pt x="9118" y="1337274"/>
                </a:lnTo>
                <a:lnTo>
                  <a:pt x="14192" y="1384836"/>
                </a:lnTo>
                <a:lnTo>
                  <a:pt x="20359" y="1432060"/>
                </a:lnTo>
                <a:lnTo>
                  <a:pt x="27605" y="1478933"/>
                </a:lnTo>
                <a:lnTo>
                  <a:pt x="35916" y="1525442"/>
                </a:lnTo>
                <a:lnTo>
                  <a:pt x="45280" y="1571572"/>
                </a:lnTo>
                <a:lnTo>
                  <a:pt x="55684" y="1617312"/>
                </a:lnTo>
                <a:lnTo>
                  <a:pt x="67115" y="1662648"/>
                </a:lnTo>
                <a:lnTo>
                  <a:pt x="79560" y="1707567"/>
                </a:lnTo>
                <a:lnTo>
                  <a:pt x="93005" y="1752056"/>
                </a:lnTo>
                <a:lnTo>
                  <a:pt x="107438" y="1796102"/>
                </a:lnTo>
                <a:lnTo>
                  <a:pt x="122845" y="1839691"/>
                </a:lnTo>
                <a:lnTo>
                  <a:pt x="139214" y="1882810"/>
                </a:lnTo>
                <a:lnTo>
                  <a:pt x="156531" y="1925446"/>
                </a:lnTo>
                <a:lnTo>
                  <a:pt x="174784" y="1967587"/>
                </a:lnTo>
                <a:lnTo>
                  <a:pt x="193959" y="2009218"/>
                </a:lnTo>
                <a:lnTo>
                  <a:pt x="214044" y="2050327"/>
                </a:lnTo>
                <a:lnTo>
                  <a:pt x="235025" y="2090901"/>
                </a:lnTo>
                <a:lnTo>
                  <a:pt x="256889" y="2130927"/>
                </a:lnTo>
                <a:lnTo>
                  <a:pt x="279623" y="2170390"/>
                </a:lnTo>
                <a:lnTo>
                  <a:pt x="303215" y="2209279"/>
                </a:lnTo>
                <a:lnTo>
                  <a:pt x="327651" y="2247580"/>
                </a:lnTo>
                <a:lnTo>
                  <a:pt x="352918" y="2285279"/>
                </a:lnTo>
                <a:lnTo>
                  <a:pt x="379003" y="2322365"/>
                </a:lnTo>
                <a:lnTo>
                  <a:pt x="405892" y="2358823"/>
                </a:lnTo>
                <a:lnTo>
                  <a:pt x="433574" y="2394640"/>
                </a:lnTo>
                <a:lnTo>
                  <a:pt x="462035" y="2429804"/>
                </a:lnTo>
                <a:lnTo>
                  <a:pt x="491262" y="2464301"/>
                </a:lnTo>
                <a:lnTo>
                  <a:pt x="521242" y="2498118"/>
                </a:lnTo>
                <a:lnTo>
                  <a:pt x="551961" y="2531241"/>
                </a:lnTo>
                <a:lnTo>
                  <a:pt x="583407" y="2563659"/>
                </a:lnTo>
                <a:lnTo>
                  <a:pt x="615567" y="2595357"/>
                </a:lnTo>
                <a:lnTo>
                  <a:pt x="648428" y="2626322"/>
                </a:lnTo>
                <a:lnTo>
                  <a:pt x="681976" y="2656542"/>
                </a:lnTo>
                <a:lnTo>
                  <a:pt x="716199" y="2686003"/>
                </a:lnTo>
                <a:lnTo>
                  <a:pt x="751083" y="2714691"/>
                </a:lnTo>
                <a:lnTo>
                  <a:pt x="786616" y="2742595"/>
                </a:lnTo>
                <a:lnTo>
                  <a:pt x="822785" y="2769700"/>
                </a:lnTo>
                <a:lnTo>
                  <a:pt x="859575" y="2795994"/>
                </a:lnTo>
                <a:lnTo>
                  <a:pt x="896976" y="2821463"/>
                </a:lnTo>
                <a:lnTo>
                  <a:pt x="934972" y="2846094"/>
                </a:lnTo>
                <a:lnTo>
                  <a:pt x="973552" y="2869875"/>
                </a:lnTo>
                <a:lnTo>
                  <a:pt x="1012702" y="2892791"/>
                </a:lnTo>
                <a:lnTo>
                  <a:pt x="1052409" y="2914831"/>
                </a:lnTo>
                <a:lnTo>
                  <a:pt x="1092661" y="2935979"/>
                </a:lnTo>
                <a:lnTo>
                  <a:pt x="1133443" y="2956225"/>
                </a:lnTo>
                <a:lnTo>
                  <a:pt x="1174744" y="2975554"/>
                </a:lnTo>
                <a:lnTo>
                  <a:pt x="1216550" y="2993952"/>
                </a:lnTo>
                <a:lnTo>
                  <a:pt x="1258847" y="3011408"/>
                </a:lnTo>
                <a:lnTo>
                  <a:pt x="1301624" y="3027908"/>
                </a:lnTo>
                <a:lnTo>
                  <a:pt x="1344867" y="3043439"/>
                </a:lnTo>
                <a:lnTo>
                  <a:pt x="1388562" y="3057987"/>
                </a:lnTo>
                <a:lnTo>
                  <a:pt x="1432697" y="3071540"/>
                </a:lnTo>
                <a:lnTo>
                  <a:pt x="1477260" y="3084084"/>
                </a:lnTo>
                <a:lnTo>
                  <a:pt x="1522235" y="3095607"/>
                </a:lnTo>
                <a:lnTo>
                  <a:pt x="1567612" y="3106094"/>
                </a:lnTo>
                <a:lnTo>
                  <a:pt x="1613376" y="3115533"/>
                </a:lnTo>
                <a:lnTo>
                  <a:pt x="1659515" y="3123911"/>
                </a:lnTo>
                <a:lnTo>
                  <a:pt x="1706015" y="3131215"/>
                </a:lnTo>
                <a:lnTo>
                  <a:pt x="1737568" y="3135401"/>
                </a:lnTo>
                <a:lnTo>
                  <a:pt x="1737568" y="0"/>
                </a:lnTo>
                <a:close/>
              </a:path>
            </a:pathLst>
          </a:custGeom>
          <a:solidFill>
            <a:schemeClr val="tx2">
              <a:lumMod val="50000"/>
              <a:alpha val="42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F860E8C-C3E7-32E5-0B27-72FFCF25A2FA}"/>
              </a:ext>
            </a:extLst>
          </p:cNvPr>
          <p:cNvSpPr/>
          <p:nvPr/>
        </p:nvSpPr>
        <p:spPr>
          <a:xfrm>
            <a:off x="435448" y="3232547"/>
            <a:ext cx="10588797" cy="7571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4800" b="1" dirty="0">
                <a:solidFill>
                  <a:prstClr val="white"/>
                </a:solidFill>
                <a:latin typeface="Arial"/>
                <a:sym typeface="+mn-lt"/>
              </a:rPr>
              <a:t>Thank you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F30911C-5232-A1A7-2939-150302BA859E}"/>
              </a:ext>
            </a:extLst>
          </p:cNvPr>
          <p:cNvSpPr/>
          <p:nvPr/>
        </p:nvSpPr>
        <p:spPr>
          <a:xfrm>
            <a:off x="435448" y="5452572"/>
            <a:ext cx="1338828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3141C2-37CE-55BF-3B19-667892D29B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27" imgH="327" progId="TCLayout.ActiveDocument.1">
                  <p:embed/>
                </p:oleObj>
              </mc:Choice>
              <mc:Fallback>
                <p:oleObj name="think-cell Slide" r:id="rId9" imgW="327" imgH="32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3141C2-37CE-55BF-3B19-667892D29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9C3BCE-282A-EEF6-F029-BE98B36FDE1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27" imgH="327" progId="TCLayout.ActiveDocument.1">
                  <p:embed/>
                </p:oleObj>
              </mc:Choice>
              <mc:Fallback>
                <p:oleObj name="think-cell Slide" r:id="rId9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9C3BCE-282A-EEF6-F029-BE98B36FDE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Picture 4" descr="Image result for jica logo">
            <a:extLst>
              <a:ext uri="{FF2B5EF4-FFF2-40B4-BE49-F238E27FC236}">
                <a16:creationId xmlns:a16="http://schemas.microsoft.com/office/drawing/2014/main" id="{D1380D3A-CD5F-DBB4-7F82-0D685E05E4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6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0972" y="270475"/>
            <a:ext cx="885444" cy="71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Freeform 5">
            <a:extLst>
              <a:ext uri="{FF2B5EF4-FFF2-40B4-BE49-F238E27FC236}">
                <a16:creationId xmlns:a16="http://schemas.microsoft.com/office/drawing/2014/main" id="{446C7D46-3F46-B854-13EC-D0EFF0035F70}"/>
              </a:ext>
            </a:extLst>
          </p:cNvPr>
          <p:cNvSpPr>
            <a:spLocks noEditPoints="1"/>
          </p:cNvSpPr>
          <p:nvPr/>
        </p:nvSpPr>
        <p:spPr bwMode="auto">
          <a:xfrm>
            <a:off x="9925974" y="423761"/>
            <a:ext cx="1258809" cy="513788"/>
          </a:xfrm>
          <a:custGeom>
            <a:avLst/>
            <a:gdLst>
              <a:gd name="T0" fmla="*/ 395 w 395"/>
              <a:gd name="T1" fmla="*/ 73 h 160"/>
              <a:gd name="T2" fmla="*/ 363 w 395"/>
              <a:gd name="T3" fmla="*/ 67 h 160"/>
              <a:gd name="T4" fmla="*/ 323 w 395"/>
              <a:gd name="T5" fmla="*/ 81 h 160"/>
              <a:gd name="T6" fmla="*/ 361 w 395"/>
              <a:gd name="T7" fmla="*/ 96 h 160"/>
              <a:gd name="T8" fmla="*/ 318 w 395"/>
              <a:gd name="T9" fmla="*/ 130 h 160"/>
              <a:gd name="T10" fmla="*/ 270 w 395"/>
              <a:gd name="T11" fmla="*/ 80 h 160"/>
              <a:gd name="T12" fmla="*/ 318 w 395"/>
              <a:gd name="T13" fmla="*/ 31 h 160"/>
              <a:gd name="T14" fmla="*/ 349 w 395"/>
              <a:gd name="T15" fmla="*/ 41 h 160"/>
              <a:gd name="T16" fmla="*/ 365 w 395"/>
              <a:gd name="T17" fmla="*/ 14 h 160"/>
              <a:gd name="T18" fmla="*/ 319 w 395"/>
              <a:gd name="T19" fmla="*/ 0 h 160"/>
              <a:gd name="T20" fmla="*/ 261 w 395"/>
              <a:gd name="T21" fmla="*/ 23 h 160"/>
              <a:gd name="T22" fmla="*/ 219 w 395"/>
              <a:gd name="T23" fmla="*/ 115 h 160"/>
              <a:gd name="T24" fmla="*/ 184 w 395"/>
              <a:gd name="T25" fmla="*/ 129 h 160"/>
              <a:gd name="T26" fmla="*/ 134 w 395"/>
              <a:gd name="T27" fmla="*/ 80 h 160"/>
              <a:gd name="T28" fmla="*/ 184 w 395"/>
              <a:gd name="T29" fmla="*/ 30 h 160"/>
              <a:gd name="T30" fmla="*/ 214 w 395"/>
              <a:gd name="T31" fmla="*/ 40 h 160"/>
              <a:gd name="T32" fmla="*/ 231 w 395"/>
              <a:gd name="T33" fmla="*/ 14 h 160"/>
              <a:gd name="T34" fmla="*/ 184 w 395"/>
              <a:gd name="T35" fmla="*/ 0 h 160"/>
              <a:gd name="T36" fmla="*/ 118 w 395"/>
              <a:gd name="T37" fmla="*/ 33 h 160"/>
              <a:gd name="T38" fmla="*/ 72 w 395"/>
              <a:gd name="T39" fmla="*/ 3 h 160"/>
              <a:gd name="T40" fmla="*/ 0 w 395"/>
              <a:gd name="T41" fmla="*/ 3 h 160"/>
              <a:gd name="T42" fmla="*/ 0 w 395"/>
              <a:gd name="T43" fmla="*/ 157 h 160"/>
              <a:gd name="T44" fmla="*/ 105 w 395"/>
              <a:gd name="T45" fmla="*/ 150 h 160"/>
              <a:gd name="T46" fmla="*/ 149 w 395"/>
              <a:gd name="T47" fmla="*/ 153 h 160"/>
              <a:gd name="T48" fmla="*/ 222 w 395"/>
              <a:gd name="T49" fmla="*/ 151 h 160"/>
              <a:gd name="T50" fmla="*/ 278 w 395"/>
              <a:gd name="T51" fmla="*/ 151 h 160"/>
              <a:gd name="T52" fmla="*/ 373 w 395"/>
              <a:gd name="T53" fmla="*/ 137 h 160"/>
              <a:gd name="T54" fmla="*/ 33 w 395"/>
              <a:gd name="T55" fmla="*/ 65 h 160"/>
              <a:gd name="T56" fmla="*/ 71 w 395"/>
              <a:gd name="T57" fmla="*/ 32 h 160"/>
              <a:gd name="T58" fmla="*/ 88 w 395"/>
              <a:gd name="T59" fmla="*/ 48 h 160"/>
              <a:gd name="T60" fmla="*/ 71 w 395"/>
              <a:gd name="T61" fmla="*/ 65 h 160"/>
              <a:gd name="T62" fmla="*/ 33 w 395"/>
              <a:gd name="T63" fmla="*/ 65 h 160"/>
              <a:gd name="T64" fmla="*/ 33 w 395"/>
              <a:gd name="T65" fmla="*/ 93 h 160"/>
              <a:gd name="T66" fmla="*/ 92 w 395"/>
              <a:gd name="T67" fmla="*/ 98 h 160"/>
              <a:gd name="T68" fmla="*/ 92 w 395"/>
              <a:gd name="T69" fmla="*/ 123 h 160"/>
              <a:gd name="T70" fmla="*/ 56 w 395"/>
              <a:gd name="T71" fmla="*/ 128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95" h="160">
                <a:moveTo>
                  <a:pt x="395" y="80"/>
                </a:moveTo>
                <a:cubicBezTo>
                  <a:pt x="395" y="78"/>
                  <a:pt x="395" y="75"/>
                  <a:pt x="395" y="73"/>
                </a:cubicBezTo>
                <a:cubicBezTo>
                  <a:pt x="395" y="71"/>
                  <a:pt x="395" y="69"/>
                  <a:pt x="394" y="67"/>
                </a:cubicBezTo>
                <a:cubicBezTo>
                  <a:pt x="363" y="67"/>
                  <a:pt x="363" y="67"/>
                  <a:pt x="363" y="67"/>
                </a:cubicBezTo>
                <a:cubicBezTo>
                  <a:pt x="332" y="67"/>
                  <a:pt x="332" y="67"/>
                  <a:pt x="332" y="67"/>
                </a:cubicBezTo>
                <a:cubicBezTo>
                  <a:pt x="323" y="81"/>
                  <a:pt x="323" y="81"/>
                  <a:pt x="323" y="81"/>
                </a:cubicBezTo>
                <a:cubicBezTo>
                  <a:pt x="313" y="96"/>
                  <a:pt x="313" y="96"/>
                  <a:pt x="313" y="96"/>
                </a:cubicBezTo>
                <a:cubicBezTo>
                  <a:pt x="361" y="96"/>
                  <a:pt x="361" y="96"/>
                  <a:pt x="361" y="96"/>
                </a:cubicBezTo>
                <a:cubicBezTo>
                  <a:pt x="358" y="106"/>
                  <a:pt x="353" y="114"/>
                  <a:pt x="346" y="120"/>
                </a:cubicBezTo>
                <a:cubicBezTo>
                  <a:pt x="338" y="126"/>
                  <a:pt x="329" y="130"/>
                  <a:pt x="318" y="130"/>
                </a:cubicBezTo>
                <a:cubicBezTo>
                  <a:pt x="305" y="130"/>
                  <a:pt x="292" y="124"/>
                  <a:pt x="284" y="115"/>
                </a:cubicBezTo>
                <a:cubicBezTo>
                  <a:pt x="275" y="106"/>
                  <a:pt x="270" y="93"/>
                  <a:pt x="270" y="80"/>
                </a:cubicBezTo>
                <a:cubicBezTo>
                  <a:pt x="270" y="66"/>
                  <a:pt x="275" y="54"/>
                  <a:pt x="284" y="45"/>
                </a:cubicBezTo>
                <a:cubicBezTo>
                  <a:pt x="293" y="36"/>
                  <a:pt x="305" y="31"/>
                  <a:pt x="318" y="31"/>
                </a:cubicBezTo>
                <a:cubicBezTo>
                  <a:pt x="324" y="31"/>
                  <a:pt x="330" y="32"/>
                  <a:pt x="335" y="33"/>
                </a:cubicBezTo>
                <a:cubicBezTo>
                  <a:pt x="340" y="35"/>
                  <a:pt x="345" y="37"/>
                  <a:pt x="349" y="41"/>
                </a:cubicBezTo>
                <a:cubicBezTo>
                  <a:pt x="357" y="27"/>
                  <a:pt x="357" y="27"/>
                  <a:pt x="357" y="27"/>
                </a:cubicBezTo>
                <a:cubicBezTo>
                  <a:pt x="365" y="14"/>
                  <a:pt x="365" y="14"/>
                  <a:pt x="365" y="14"/>
                </a:cubicBezTo>
                <a:cubicBezTo>
                  <a:pt x="359" y="10"/>
                  <a:pt x="352" y="6"/>
                  <a:pt x="344" y="4"/>
                </a:cubicBezTo>
                <a:cubicBezTo>
                  <a:pt x="336" y="1"/>
                  <a:pt x="328" y="0"/>
                  <a:pt x="319" y="0"/>
                </a:cubicBezTo>
                <a:cubicBezTo>
                  <a:pt x="307" y="0"/>
                  <a:pt x="296" y="2"/>
                  <a:pt x="286" y="6"/>
                </a:cubicBezTo>
                <a:cubicBezTo>
                  <a:pt x="277" y="10"/>
                  <a:pt x="268" y="16"/>
                  <a:pt x="261" y="23"/>
                </a:cubicBezTo>
                <a:cubicBezTo>
                  <a:pt x="244" y="40"/>
                  <a:pt x="239" y="57"/>
                  <a:pt x="236" y="73"/>
                </a:cubicBezTo>
                <a:cubicBezTo>
                  <a:pt x="232" y="89"/>
                  <a:pt x="230" y="103"/>
                  <a:pt x="219" y="115"/>
                </a:cubicBezTo>
                <a:cubicBezTo>
                  <a:pt x="214" y="119"/>
                  <a:pt x="209" y="123"/>
                  <a:pt x="203" y="126"/>
                </a:cubicBezTo>
                <a:cubicBezTo>
                  <a:pt x="197" y="128"/>
                  <a:pt x="191" y="129"/>
                  <a:pt x="184" y="129"/>
                </a:cubicBezTo>
                <a:cubicBezTo>
                  <a:pt x="170" y="129"/>
                  <a:pt x="158" y="124"/>
                  <a:pt x="149" y="115"/>
                </a:cubicBezTo>
                <a:cubicBezTo>
                  <a:pt x="140" y="106"/>
                  <a:pt x="134" y="93"/>
                  <a:pt x="134" y="80"/>
                </a:cubicBezTo>
                <a:cubicBezTo>
                  <a:pt x="134" y="67"/>
                  <a:pt x="140" y="54"/>
                  <a:pt x="149" y="45"/>
                </a:cubicBezTo>
                <a:cubicBezTo>
                  <a:pt x="158" y="36"/>
                  <a:pt x="170" y="31"/>
                  <a:pt x="184" y="30"/>
                </a:cubicBezTo>
                <a:cubicBezTo>
                  <a:pt x="190" y="31"/>
                  <a:pt x="195" y="31"/>
                  <a:pt x="200" y="33"/>
                </a:cubicBezTo>
                <a:cubicBezTo>
                  <a:pt x="205" y="35"/>
                  <a:pt x="210" y="37"/>
                  <a:pt x="214" y="40"/>
                </a:cubicBezTo>
                <a:cubicBezTo>
                  <a:pt x="222" y="27"/>
                  <a:pt x="222" y="27"/>
                  <a:pt x="222" y="27"/>
                </a:cubicBezTo>
                <a:cubicBezTo>
                  <a:pt x="231" y="14"/>
                  <a:pt x="231" y="14"/>
                  <a:pt x="231" y="14"/>
                </a:cubicBezTo>
                <a:cubicBezTo>
                  <a:pt x="224" y="9"/>
                  <a:pt x="217" y="6"/>
                  <a:pt x="209" y="3"/>
                </a:cubicBezTo>
                <a:cubicBezTo>
                  <a:pt x="202" y="1"/>
                  <a:pt x="193" y="0"/>
                  <a:pt x="184" y="0"/>
                </a:cubicBezTo>
                <a:cubicBezTo>
                  <a:pt x="170" y="0"/>
                  <a:pt x="157" y="3"/>
                  <a:pt x="146" y="9"/>
                </a:cubicBezTo>
                <a:cubicBezTo>
                  <a:pt x="135" y="15"/>
                  <a:pt x="125" y="23"/>
                  <a:pt x="118" y="33"/>
                </a:cubicBezTo>
                <a:cubicBezTo>
                  <a:pt x="115" y="25"/>
                  <a:pt x="109" y="17"/>
                  <a:pt x="101" y="12"/>
                </a:cubicBezTo>
                <a:cubicBezTo>
                  <a:pt x="93" y="6"/>
                  <a:pt x="83" y="3"/>
                  <a:pt x="72" y="3"/>
                </a:cubicBezTo>
                <a:cubicBezTo>
                  <a:pt x="36" y="3"/>
                  <a:pt x="36" y="3"/>
                  <a:pt x="36" y="3"/>
                </a:cubicBezTo>
                <a:cubicBezTo>
                  <a:pt x="0" y="3"/>
                  <a:pt x="0" y="3"/>
                  <a:pt x="0" y="3"/>
                </a:cubicBezTo>
                <a:cubicBezTo>
                  <a:pt x="0" y="80"/>
                  <a:pt x="0" y="80"/>
                  <a:pt x="0" y="80"/>
                </a:cubicBezTo>
                <a:cubicBezTo>
                  <a:pt x="0" y="157"/>
                  <a:pt x="0" y="157"/>
                  <a:pt x="0" y="157"/>
                </a:cubicBezTo>
                <a:cubicBezTo>
                  <a:pt x="79" y="157"/>
                  <a:pt x="79" y="157"/>
                  <a:pt x="79" y="157"/>
                </a:cubicBezTo>
                <a:cubicBezTo>
                  <a:pt x="89" y="157"/>
                  <a:pt x="98" y="154"/>
                  <a:pt x="105" y="150"/>
                </a:cubicBezTo>
                <a:cubicBezTo>
                  <a:pt x="113" y="146"/>
                  <a:pt x="119" y="140"/>
                  <a:pt x="123" y="133"/>
                </a:cubicBezTo>
                <a:cubicBezTo>
                  <a:pt x="130" y="142"/>
                  <a:pt x="139" y="148"/>
                  <a:pt x="149" y="153"/>
                </a:cubicBezTo>
                <a:cubicBezTo>
                  <a:pt x="159" y="157"/>
                  <a:pt x="171" y="160"/>
                  <a:pt x="183" y="160"/>
                </a:cubicBezTo>
                <a:cubicBezTo>
                  <a:pt x="197" y="160"/>
                  <a:pt x="210" y="157"/>
                  <a:pt x="222" y="151"/>
                </a:cubicBezTo>
                <a:cubicBezTo>
                  <a:pt x="233" y="145"/>
                  <a:pt x="243" y="136"/>
                  <a:pt x="250" y="126"/>
                </a:cubicBezTo>
                <a:cubicBezTo>
                  <a:pt x="257" y="136"/>
                  <a:pt x="267" y="145"/>
                  <a:pt x="278" y="151"/>
                </a:cubicBezTo>
                <a:cubicBezTo>
                  <a:pt x="290" y="157"/>
                  <a:pt x="303" y="160"/>
                  <a:pt x="317" y="160"/>
                </a:cubicBezTo>
                <a:cubicBezTo>
                  <a:pt x="339" y="160"/>
                  <a:pt x="359" y="151"/>
                  <a:pt x="373" y="137"/>
                </a:cubicBezTo>
                <a:cubicBezTo>
                  <a:pt x="387" y="122"/>
                  <a:pt x="395" y="102"/>
                  <a:pt x="395" y="80"/>
                </a:cubicBezTo>
                <a:close/>
                <a:moveTo>
                  <a:pt x="33" y="65"/>
                </a:moveTo>
                <a:cubicBezTo>
                  <a:pt x="33" y="32"/>
                  <a:pt x="33" y="32"/>
                  <a:pt x="33" y="32"/>
                </a:cubicBezTo>
                <a:cubicBezTo>
                  <a:pt x="71" y="32"/>
                  <a:pt x="71" y="32"/>
                  <a:pt x="71" y="32"/>
                </a:cubicBezTo>
                <a:cubicBezTo>
                  <a:pt x="76" y="32"/>
                  <a:pt x="80" y="34"/>
                  <a:pt x="83" y="36"/>
                </a:cubicBezTo>
                <a:cubicBezTo>
                  <a:pt x="86" y="39"/>
                  <a:pt x="88" y="44"/>
                  <a:pt x="88" y="48"/>
                </a:cubicBezTo>
                <a:cubicBezTo>
                  <a:pt x="88" y="53"/>
                  <a:pt x="86" y="57"/>
                  <a:pt x="83" y="60"/>
                </a:cubicBezTo>
                <a:cubicBezTo>
                  <a:pt x="80" y="64"/>
                  <a:pt x="76" y="65"/>
                  <a:pt x="71" y="65"/>
                </a:cubicBezTo>
                <a:cubicBezTo>
                  <a:pt x="52" y="65"/>
                  <a:pt x="52" y="65"/>
                  <a:pt x="52" y="65"/>
                </a:cubicBezTo>
                <a:cubicBezTo>
                  <a:pt x="33" y="65"/>
                  <a:pt x="33" y="65"/>
                  <a:pt x="33" y="65"/>
                </a:cubicBezTo>
                <a:close/>
                <a:moveTo>
                  <a:pt x="33" y="128"/>
                </a:moveTo>
                <a:cubicBezTo>
                  <a:pt x="33" y="93"/>
                  <a:pt x="33" y="93"/>
                  <a:pt x="33" y="93"/>
                </a:cubicBezTo>
                <a:cubicBezTo>
                  <a:pt x="79" y="93"/>
                  <a:pt x="79" y="93"/>
                  <a:pt x="79" y="93"/>
                </a:cubicBezTo>
                <a:cubicBezTo>
                  <a:pt x="84" y="93"/>
                  <a:pt x="88" y="95"/>
                  <a:pt x="92" y="98"/>
                </a:cubicBezTo>
                <a:cubicBezTo>
                  <a:pt x="95" y="101"/>
                  <a:pt x="97" y="106"/>
                  <a:pt x="97" y="111"/>
                </a:cubicBezTo>
                <a:cubicBezTo>
                  <a:pt x="97" y="116"/>
                  <a:pt x="95" y="120"/>
                  <a:pt x="92" y="123"/>
                </a:cubicBezTo>
                <a:cubicBezTo>
                  <a:pt x="88" y="126"/>
                  <a:pt x="84" y="128"/>
                  <a:pt x="79" y="128"/>
                </a:cubicBezTo>
                <a:cubicBezTo>
                  <a:pt x="56" y="128"/>
                  <a:pt x="56" y="128"/>
                  <a:pt x="56" y="128"/>
                </a:cubicBezTo>
                <a:cubicBezTo>
                  <a:pt x="33" y="128"/>
                  <a:pt x="33" y="128"/>
                  <a:pt x="33" y="1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4FE5836-0020-FDAB-724E-10CC33CE1F70}"/>
              </a:ext>
            </a:extLst>
          </p:cNvPr>
          <p:cNvGrpSpPr/>
          <p:nvPr/>
        </p:nvGrpSpPr>
        <p:grpSpPr>
          <a:xfrm>
            <a:off x="418728" y="326661"/>
            <a:ext cx="2730195" cy="671146"/>
            <a:chOff x="551545" y="326661"/>
            <a:chExt cx="2730195" cy="671146"/>
          </a:xfrm>
        </p:grpSpPr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D470642C-456D-E756-1ED2-880585224E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harpenSoften amount="62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545" y="326661"/>
              <a:ext cx="420585" cy="6711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83763ED-7768-5B27-12E8-9901EC5C7867}"/>
                </a:ext>
              </a:extLst>
            </p:cNvPr>
            <p:cNvGrpSpPr/>
            <p:nvPr/>
          </p:nvGrpSpPr>
          <p:grpSpPr>
            <a:xfrm>
              <a:off x="1104862" y="392010"/>
              <a:ext cx="2176878" cy="540448"/>
              <a:chOff x="1127052" y="381532"/>
              <a:chExt cx="2176878" cy="540448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C212DB37-86B9-8317-A8A6-8BA50192BC5B}"/>
                  </a:ext>
                </a:extLst>
              </p:cNvPr>
              <p:cNvSpPr txBox="1"/>
              <p:nvPr/>
            </p:nvSpPr>
            <p:spPr>
              <a:xfrm>
                <a:off x="1127052" y="381532"/>
                <a:ext cx="2176878" cy="215444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1400" b="1">
                    <a:solidFill>
                      <a:srgbClr val="FFFFFF"/>
                    </a:solidFill>
                  </a:rPr>
                  <a:t>Government of Rajasthan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F09F096E-7A7F-C2FC-F925-7FF9472279BA}"/>
                  </a:ext>
                </a:extLst>
              </p:cNvPr>
              <p:cNvSpPr txBox="1"/>
              <p:nvPr/>
            </p:nvSpPr>
            <p:spPr>
              <a:xfrm>
                <a:off x="1127052" y="706536"/>
                <a:ext cx="1641475" cy="215444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1400" b="1">
                    <a:solidFill>
                      <a:srgbClr val="FFFFFF"/>
                    </a:solidFill>
                  </a:rPr>
                  <a:t>Forest Department </a:t>
                </a:r>
              </a:p>
            </p:txBody>
          </p:sp>
        </p:grpSp>
      </p:grpSp>
      <p:pic>
        <p:nvPicPr>
          <p:cNvPr id="1032" name="Picture 8" descr="WTI Roadshow Program">
            <a:extLst>
              <a:ext uri="{FF2B5EF4-FFF2-40B4-BE49-F238E27FC236}">
                <a16:creationId xmlns:a16="http://schemas.microsoft.com/office/drawing/2014/main" id="{02A095D5-999C-907B-362E-2D6D83B3AB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biLevel thresh="25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 contrast="-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338" b="13061"/>
          <a:stretch/>
        </p:blipFill>
        <p:spPr bwMode="auto">
          <a:xfrm>
            <a:off x="3942265" y="394411"/>
            <a:ext cx="1539492" cy="535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23680DA-49CD-58CC-2C86-5148406A1BA6}"/>
              </a:ext>
            </a:extLst>
          </p:cNvPr>
          <p:cNvCxnSpPr/>
          <p:nvPr/>
        </p:nvCxnSpPr>
        <p:spPr>
          <a:xfrm>
            <a:off x="3251169" y="326661"/>
            <a:ext cx="0" cy="671146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F421AE1-7385-A776-7435-50AFBD86346B}"/>
              </a:ext>
            </a:extLst>
          </p:cNvPr>
          <p:cNvCxnSpPr/>
          <p:nvPr/>
        </p:nvCxnSpPr>
        <p:spPr>
          <a:xfrm>
            <a:off x="6172852" y="326661"/>
            <a:ext cx="0" cy="671146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E48DF0F-942B-52DF-5AA2-B8762CF3F5E7}"/>
              </a:ext>
            </a:extLst>
          </p:cNvPr>
          <p:cNvCxnSpPr/>
          <p:nvPr/>
        </p:nvCxnSpPr>
        <p:spPr>
          <a:xfrm>
            <a:off x="9094536" y="326661"/>
            <a:ext cx="0" cy="671146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4F1868D-BBB6-00B7-78C6-8F8D6C08ECB5}"/>
              </a:ext>
            </a:extLst>
          </p:cNvPr>
          <p:cNvCxnSpPr/>
          <p:nvPr/>
        </p:nvCxnSpPr>
        <p:spPr>
          <a:xfrm>
            <a:off x="418728" y="1167729"/>
            <a:ext cx="274320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04D8C1A-B205-FF8E-C341-AF59BD1C0165}"/>
              </a:ext>
            </a:extLst>
          </p:cNvPr>
          <p:cNvCxnSpPr>
            <a:cxnSpLocks/>
          </p:cNvCxnSpPr>
          <p:nvPr/>
        </p:nvCxnSpPr>
        <p:spPr>
          <a:xfrm>
            <a:off x="3340411" y="1167729"/>
            <a:ext cx="274320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0D5B16D-2E5F-A589-4247-029B6728808D}"/>
              </a:ext>
            </a:extLst>
          </p:cNvPr>
          <p:cNvCxnSpPr>
            <a:cxnSpLocks/>
          </p:cNvCxnSpPr>
          <p:nvPr/>
        </p:nvCxnSpPr>
        <p:spPr>
          <a:xfrm>
            <a:off x="6262094" y="1167729"/>
            <a:ext cx="274320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4EBFC72-3ED1-E0C6-D612-59F15FC54462}"/>
              </a:ext>
            </a:extLst>
          </p:cNvPr>
          <p:cNvCxnSpPr>
            <a:cxnSpLocks/>
          </p:cNvCxnSpPr>
          <p:nvPr/>
        </p:nvCxnSpPr>
        <p:spPr>
          <a:xfrm>
            <a:off x="9183778" y="1167729"/>
            <a:ext cx="274320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84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EE4P_STYLE_NAME" val="JICA Grid 16:9"/>
  <p:tag name="THINKCELLUNDODONOTDELETE" val="0"/>
  <p:tag name="EE4P_STYLE_ID" val="39dcc26a-7131-49f4-a9eb-1c0521500c03"/>
  <p:tag name="EE4P_AGENDAWIZARD" val="&lt;ee4p&gt;&lt;layouts&gt;&lt;layout name=&quot;Two-Thirds&quot; id=&quot;227_1-4&quot;&gt;&lt;standard&gt;&lt;textframe horizontalAnchor=&quot;1&quot; marginBottom=&quot;0&quot; marginLeft=&quot;0&quot; marginRight=&quot;0&quot; marginTop=&quot;0&quot; orientation=&quot;1&quot; verticalAnchor=&quot;1&quot; /&gt;&lt;font name=&quot;Trebuchet MS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406.8057&quot; top=&quot;54.87496&quot; width=&quot;503.6943&quot; height=&quot;430.2501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|10.5|11|12|14|16|18|20|22|24&quot; allowedTimeFormatIds=&quot;1|2|3&quot; slideLayout=&quot;11&quot; customLayoutName=&quot;Green one third|Presentation¦Green one third&quot; customLayoutIndex=&quot;&quot; showBreak=&quot;0&quot; singleAgendaSlideSelected=&quot;1&quot; backupSlideTitle=&quot;Unused Slides&quot; topMargin=&quot;0.5&quot; leftMargin=&quot;0&quot; allowedLevels=&quot;2&quot; itemNoFormats=&quot;{1}¦{1}.{2}¦{3:alphaLC}¦{3:alphaLC}.{4:alphaLC}&quot; customLayoutNameBackup=&quot;Special gray|Presentation¦Special gray&quot; titlePrompt=&quot;Insert Title&quot; /&gt;&lt;cases&gt;&lt;!-- Single --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!-- Selected --&gt;&lt;case level=&quot;1&quot; selected=&quot;0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pageno&quot; type=&quot;autoshape&quot; autoShapeType=&quot;1&quot;&gt;&lt;paragraphformat alignment=&quot;3&quot; /&gt;&lt;font color=&quot;13:0.4&quot; /&gt;&lt;/element&gt;&lt;/case&gt;&lt;case level=&quot;1&quot; selected=&quot;1&quot; break=&quot;0&quot; topMinSpacing=&quot;5&quot; topMaxSpacing=&quot;15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pageno&quot; type=&quot;autoshape&quot; autoShapeType=&quot;1&quot;&gt;&lt;paragraphformat alignment=&quot;3&quot; /&gt;&lt;font color=&quot;13:0.4&quot; relativeSize=&quot;0.75&quot; /&gt;&lt;/element&gt;&lt;/case&gt;&lt;case level=&quot;2&quot; selected=&quot;1&quot; break=&quot;0&quot; topMinSpacing=&quot;4&quot; topMaxSpacing=&quot;4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 /&gt;&lt;/layout&gt;&lt;/layouts&gt;&lt;contents&gt;&lt;agenda name=&quot;Agenda&quot; title=&quot;Agenda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4&quot; hideSeparatingSlides=&quot;0&quot; createSections=&quot;0&quot; singleSlideId=&quot;8b45067a-d7ce-45dc-a19d-194c73adf618&quot; backupSlideId=&quot;19a90434-b41a-4e79-8622-1cedaa419377&quot;&gt;&lt;columns leftSpacing=&quot;0&quot; rightSpacing=&quot;0&quot;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rightSpacing=&quot;240.514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&gt;&lt;item duration=&quot;30&quot; id=&quot;7b738bef-88cf-4b4e-99b0-d82b6f689c84&quot; parentId=&quot;&quot; level=&quot;1&quot; generateAgendaSlide=&quot;1&quot; showAgendaItem=&quot;1&quot; isBreak=&quot;0&quot; topic=&quot;Template for submission&quot; agendaSlideId=&quot;3d7b26d5-7cf5-4f5c-9932-92dd02bd610c&quot; /&gt;&lt;item duration=&quot;30&quot; id=&quot;1d53a4aa-dfce-4002-91fa-f1057e085235&quot; parentId=&quot;&quot; level=&quot;1&quot; generateAgendaSlide=&quot;1&quot; showAgendaItem=&quot;1&quot; isBreak=&quot;0&quot; topic=&quot;Illustrative template&quot; agendaSlideId=&quot;e3e201fb-6f1b-4559-b656-458ac3c23d55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H3lkFRS3OF2uMzJiRo.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HoxiSOT3WzzaxB7HIIm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Fh.pLrT9u_f6T8UqT0v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b45067a-d7ce-45dc-a19d-194c73adf618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e201fb-6f1b-4559-b656-458ac3c23d55_Topic"/>
  <p:tag name="EE4P_AGENDAWIZARD_CONTENT" val="/Illustrative template"/>
  <p:tag name="EE4P_AGENDAWIZARD_PROPERTIES" val="406.8057/277.5/263.1803/29.5558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d7b26d5-7cf5-4f5c-9932-92dd02bd610c_Topic"/>
  <p:tag name="EE4P_AGENDAWIZARD_CONTENT" val="/Template for submission"/>
  <p:tag name="EE4P_AGENDAWIZARD_PROPERTIES" val="406.8057/232.9442/263.1803/29.55583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3d7b26d5-7cf5-4f5c-9932-92dd02bd610c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3e201fb-6f1b-4559-b656-458ac3c23d55_Topic"/>
  <p:tag name="EE4P_AGENDAWIZARD_CONTENT" val="/Illustrative template"/>
  <p:tag name="EE4P_AGENDAWIZARD_PROPERTIES" val="406.8057/277.5/263.1803/29.55583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d7b26d5-7cf5-4f5c-9932-92dd02bd610c_Topic"/>
  <p:tag name="EE4P_AGENDAWIZARD_CONTENT" val="/Template for submission"/>
  <p:tag name="EE4P_AGENDAWIZARD_PROPERTIES" val="406.8057/232.9442/263.1803/29.55583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Bycx2gRKCYCPAx2hYD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AyKN4AQbeIeeC7KP1z4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6t4HkbT2Gmo0_djoei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7oLjP0QC2iF92eZ6xo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RSFmHjTgmPbQvq902W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pljxnCTUivVnrjKdUl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3djIkDTsSikCpshvYo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eW_74LTRaGtjU1p0Wd4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I3KePIRUS.Tb0GbCNbd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gzx3ksSieS43d8oDTe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14R1zGQgyj08JYacVZ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rt0fCTQbqrily7SKTJ3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OkierpTRqdJqR8_80t3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U2MnZdTD.4lDts52mLZ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gYJ1u6QiClYo7OBfyH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UdAVZcSduTUk_jo.AAg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MlYhIaQ1eJWH5.hfl.V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mBTFYpQWKfq4qqTAKSD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krEiAYRsm9v1OhXhxH0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krEiAYRsm9v1OhXhxH0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scervMQuuYcOIvT3B1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z4PYZCTke45OiTxmJ0W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Z7BTo9TOKCMHLpONWy_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IVeLiTMu3PdCi3G7i9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y1GGnWSr61yA.8Fa6Vk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nosICUS0OSqaDP6cxv7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NddbHbQNGqLY98tSrq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PHGcIwRBaDCzFJ3DmLr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kJXpHASLW_dmZL9yF9r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F2aQvtSEKDWvKeeiFs1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DGZyX7QY6jUw.T.ospY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sfmV4BQrOikChYf4y8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G4CtCZQ6uxbY7xHgJYn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ixawc6RpCOf_AO5tZyl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XvSGkbTLGVr39Uiit_3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fQAaMMQj6BrMyVpP8rK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eEyAyAToqe7I8eqW_K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FSjrtHR_Wq8UpOKCXP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oXDB6VTemoEisFmxvL.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HQAvcxTui4pydwOuhVZ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65sM.aTpG.iCXVa_ut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GpoYKxSp63ymtvBrMYv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JICA Grid 16:9">
  <a:themeElements>
    <a:clrScheme name="JICA">
      <a:dk1>
        <a:srgbClr val="000000"/>
      </a:dk1>
      <a:lt1>
        <a:sysClr val="window" lastClr="FFFFFF"/>
      </a:lt1>
      <a:dk2>
        <a:srgbClr val="006EBA"/>
      </a:dk2>
      <a:lt2>
        <a:srgbClr val="F2F2F2"/>
      </a:lt2>
      <a:accent1>
        <a:srgbClr val="003254"/>
      </a:accent1>
      <a:accent2>
        <a:srgbClr val="0D9DFF"/>
      </a:accent2>
      <a:accent3>
        <a:srgbClr val="FFFF00"/>
      </a:accent3>
      <a:accent4>
        <a:srgbClr val="75C7FF"/>
      </a:accent4>
      <a:accent5>
        <a:srgbClr val="6E6F73"/>
      </a:accent5>
      <a:accent6>
        <a:srgbClr val="7030A0"/>
      </a:accent6>
      <a:hlink>
        <a:srgbClr val="AF1984"/>
      </a:hlink>
      <a:folHlink>
        <a:srgbClr val="AF1984"/>
      </a:folHlink>
    </a:clrScheme>
    <a:fontScheme name="JIC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f319bd9-102f-4a0b-9034-71b9bfca6083">
      <Terms xmlns="http://schemas.microsoft.com/office/infopath/2007/PartnerControls"/>
    </lcf76f155ced4ddcb4097134ff3c332f>
    <TaxCatchAll xmlns="e2c89157-3874-4b03-b091-4e29428d110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48F1D36BF978B44A7A81E89DBC11B78" ma:contentTypeVersion="14" ma:contentTypeDescription="Create a new document." ma:contentTypeScope="" ma:versionID="4e3471140b09221c19a6b7960f4189ff">
  <xsd:schema xmlns:xsd="http://www.w3.org/2001/XMLSchema" xmlns:xs="http://www.w3.org/2001/XMLSchema" xmlns:p="http://schemas.microsoft.com/office/2006/metadata/properties" xmlns:ns2="9f319bd9-102f-4a0b-9034-71b9bfca6083" xmlns:ns3="e2c89157-3874-4b03-b091-4e29428d1108" targetNamespace="http://schemas.microsoft.com/office/2006/metadata/properties" ma:root="true" ma:fieldsID="3831822ea69b71642b8ee6b24c28b85e" ns2:_="" ns3:_="">
    <xsd:import namespace="9f319bd9-102f-4a0b-9034-71b9bfca6083"/>
    <xsd:import namespace="e2c89157-3874-4b03-b091-4e29428d110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319bd9-102f-4a0b-9034-71b9bfca608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c89157-3874-4b03-b091-4e29428d1108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6d2cb9cc-d9e5-40c3-a7d9-b23cca0d5dc3}" ma:internalName="TaxCatchAll" ma:showField="CatchAllData" ma:web="e2c89157-3874-4b03-b091-4e29428d110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EB99AB9-9362-4C3D-8076-DA162EE24DD0}">
  <ds:schemaRefs>
    <ds:schemaRef ds:uri="http://schemas.microsoft.com/office/infopath/2007/PartnerControls"/>
    <ds:schemaRef ds:uri="http://purl.org/dc/dcmitype/"/>
    <ds:schemaRef ds:uri="9f319bd9-102f-4a0b-9034-71b9bfca6083"/>
    <ds:schemaRef ds:uri="e2c89157-3874-4b03-b091-4e29428d1108"/>
    <ds:schemaRef ds:uri="http://purl.org/dc/terms/"/>
    <ds:schemaRef ds:uri="http://schemas.microsoft.com/office/2006/metadata/properties"/>
    <ds:schemaRef ds:uri="http://www.w3.org/XML/1998/namespace"/>
    <ds:schemaRef ds:uri="http://purl.org/dc/elements/1.1/"/>
    <ds:schemaRef ds:uri="http://schemas.microsoft.com/office/2006/documentManagement/type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E47846E0-6232-4F6E-B825-2E6484274B9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A8B16CB-E196-4696-9E7D-AB4779B71E16}">
  <ds:schemaRefs>
    <ds:schemaRef ds:uri="9f319bd9-102f-4a0b-9034-71b9bfca6083"/>
    <ds:schemaRef ds:uri="e2c89157-3874-4b03-b091-4e29428d110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8</TotalTime>
  <Words>1675</Words>
  <Application>Microsoft Office PowerPoint</Application>
  <PresentationFormat>Widescreen</PresentationFormat>
  <Paragraphs>118</Paragraphs>
  <Slides>9</Slides>
  <Notes>3</Notes>
  <HiddenSlides>0</HiddenSlides>
  <MMClips>0</MMClips>
  <ScaleCrop>false</ScaleCrop>
  <HeadingPairs>
    <vt:vector size="10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  <vt:variant>
        <vt:lpstr>Custom Shows</vt:lpstr>
      </vt:variant>
      <vt:variant>
        <vt:i4>1</vt:i4>
      </vt:variant>
    </vt:vector>
  </HeadingPairs>
  <TitlesOfParts>
    <vt:vector size="14" baseType="lpstr">
      <vt:lpstr>Arial</vt:lpstr>
      <vt:lpstr>Trebuchet MS</vt:lpstr>
      <vt:lpstr>JICA Grid 16:9</vt:lpstr>
      <vt:lpstr>think-cell Slide</vt:lpstr>
      <vt:lpstr>PowerPoint Presentation</vt:lpstr>
      <vt:lpstr>Agenda</vt:lpstr>
      <vt:lpstr>Agenda</vt:lpstr>
      <vt:lpstr>Ideation Round</vt:lpstr>
      <vt:lpstr>Team Information &amp; Expertise</vt:lpstr>
      <vt:lpstr>Ideation Round</vt:lpstr>
      <vt:lpstr>Ideation Round</vt:lpstr>
      <vt:lpstr>Ideation Round</vt:lpstr>
      <vt:lpstr>PowerPoint Presentation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aaryan singh</cp:lastModifiedBy>
  <cp:revision>3</cp:revision>
  <cp:lastPrinted>1999-12-31T18:30:00Z</cp:lastPrinted>
  <dcterms:created xsi:type="dcterms:W3CDTF">2025-02-13T07:11:39Z</dcterms:created>
  <dcterms:modified xsi:type="dcterms:W3CDTF">2025-05-28T16:41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5-02-13T09:56:13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2d624eda-8b2e-4d1e-9ea3-e651478a63fd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MSIP_Label_b0d5c4f4-7a29-4385-b7a5-afbe2154ae6f_Tag">
    <vt:lpwstr>10, 3, 0, 1</vt:lpwstr>
  </property>
  <property fmtid="{D5CDD505-2E9C-101B-9397-08002B2CF9AE}" pid="15" name="MediaServiceImageTags">
    <vt:lpwstr/>
  </property>
  <property fmtid="{D5CDD505-2E9C-101B-9397-08002B2CF9AE}" pid="16" name="ContentTypeId">
    <vt:lpwstr>0x010100E48F1D36BF978B44A7A81E89DBC11B78</vt:lpwstr>
  </property>
</Properties>
</file>